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0" r:id="rId4"/>
    <p:sldMasterId id="2147483648" r:id="rId5"/>
    <p:sldMasterId id="2147483713" r:id="rId6"/>
  </p:sldMasterIdLst>
  <p:notesMasterIdLst>
    <p:notesMasterId r:id="rId10"/>
  </p:notesMasterIdLst>
  <p:handoutMasterIdLst>
    <p:handoutMasterId r:id="rId11"/>
  </p:handoutMasterIdLst>
  <p:sldIdLst>
    <p:sldId id="256" r:id="rId7"/>
    <p:sldId id="428" r:id="rId8"/>
    <p:sldId id="426" r:id="rId9"/>
  </p:sldIdLst>
  <p:sldSz cx="9144000" cy="5143500" type="screen16x9"/>
  <p:notesSz cx="9928225" cy="6797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bah Malek" initials="SAM" lastIdx="2" clrIdx="0"/>
  <p:cmAuthor id="1" name="Vincent Bergeron" initials="VB" lastIdx="9" clrIdx="1"/>
  <p:cmAuthor id="2" name="Guillaume Charnier" initials="GC" lastIdx="8" clrIdx="2"/>
  <p:cmAuthor id="3" name="Sébastien Schweitzer" initials="SS" lastIdx="1" clrIdx="3">
    <p:extLst>
      <p:ext uri="{19B8F6BF-5375-455C-9EA6-DF929625EA0E}">
        <p15:presenceInfo xmlns:p15="http://schemas.microsoft.com/office/powerpoint/2012/main" userId="S-1-5-21-2210661130-2275466861-2976415688-131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B4B4"/>
    <a:srgbClr val="DD7D1D"/>
    <a:srgbClr val="2CEB89"/>
    <a:srgbClr val="BC8600"/>
    <a:srgbClr val="FF6600"/>
    <a:srgbClr val="000039"/>
    <a:srgbClr val="FFC021"/>
    <a:srgbClr val="0066FF"/>
    <a:srgbClr val="FFFFFF"/>
    <a:srgbClr val="D3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372" autoAdjust="0"/>
  </p:normalViewPr>
  <p:slideViewPr>
    <p:cSldViewPr snapToGrid="0">
      <p:cViewPr varScale="1">
        <p:scale>
          <a:sx n="105" d="100"/>
          <a:sy n="105" d="100"/>
        </p:scale>
        <p:origin x="874" y="13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41"/>
        <p:guide pos="312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23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nsu Cevher" userId="S::cevher@voisinconsulting.com::df3717af-ac60-494c-bee7-a05e6cf79582" providerId="AD" clId="Web-{3051BCC9-8F25-4AC6-B0DB-44FD1D68B59E}"/>
    <pc:docChg chg="modSld">
      <pc:chgData name="Cansu Cevher" userId="S::cevher@voisinconsulting.com::df3717af-ac60-494c-bee7-a05e6cf79582" providerId="AD" clId="Web-{3051BCC9-8F25-4AC6-B0DB-44FD1D68B59E}" dt="2018-09-19T10:28:04.524" v="266" actId="20577"/>
      <pc:docMkLst>
        <pc:docMk/>
      </pc:docMkLst>
      <pc:sldChg chg="modSp">
        <pc:chgData name="Cansu Cevher" userId="S::cevher@voisinconsulting.com::df3717af-ac60-494c-bee7-a05e6cf79582" providerId="AD" clId="Web-{3051BCC9-8F25-4AC6-B0DB-44FD1D68B59E}" dt="2018-09-19T10:07:05.520" v="8" actId="20577"/>
        <pc:sldMkLst>
          <pc:docMk/>
          <pc:sldMk cId="3341980061" sldId="256"/>
        </pc:sldMkLst>
        <pc:spChg chg="mod">
          <ac:chgData name="Cansu Cevher" userId="S::cevher@voisinconsulting.com::df3717af-ac60-494c-bee7-a05e6cf79582" providerId="AD" clId="Web-{3051BCC9-8F25-4AC6-B0DB-44FD1D68B59E}" dt="2018-09-19T10:07:05.520" v="8" actId="20577"/>
          <ac:spMkLst>
            <pc:docMk/>
            <pc:sldMk cId="3341980061" sldId="256"/>
            <ac:spMk id="2" creationId="{00000000-0000-0000-0000-000000000000}"/>
          </ac:spMkLst>
        </pc:spChg>
      </pc:sldChg>
      <pc:sldChg chg="modSp">
        <pc:chgData name="Cansu Cevher" userId="S::cevher@voisinconsulting.com::df3717af-ac60-494c-bee7-a05e6cf79582" providerId="AD" clId="Web-{3051BCC9-8F25-4AC6-B0DB-44FD1D68B59E}" dt="2018-09-19T10:23:53.711" v="210" actId="20577"/>
        <pc:sldMkLst>
          <pc:docMk/>
          <pc:sldMk cId="3124033477" sldId="409"/>
        </pc:sldMkLst>
        <pc:spChg chg="mod">
          <ac:chgData name="Cansu Cevher" userId="S::cevher@voisinconsulting.com::df3717af-ac60-494c-bee7-a05e6cf79582" providerId="AD" clId="Web-{3051BCC9-8F25-4AC6-B0DB-44FD1D68B59E}" dt="2018-09-19T10:23:53.711" v="210" actId="20577"/>
          <ac:spMkLst>
            <pc:docMk/>
            <pc:sldMk cId="3124033477" sldId="409"/>
            <ac:spMk id="6" creationId="{00000000-0000-0000-0000-000000000000}"/>
          </ac:spMkLst>
        </pc:spChg>
      </pc:sldChg>
      <pc:sldChg chg="modSp">
        <pc:chgData name="Cansu Cevher" userId="S::cevher@voisinconsulting.com::df3717af-ac60-494c-bee7-a05e6cf79582" providerId="AD" clId="Web-{3051BCC9-8F25-4AC6-B0DB-44FD1D68B59E}" dt="2018-09-19T10:28:00.951" v="265" actId="20577"/>
        <pc:sldMkLst>
          <pc:docMk/>
          <pc:sldMk cId="3572176494" sldId="415"/>
        </pc:sldMkLst>
        <pc:spChg chg="mod">
          <ac:chgData name="Cansu Cevher" userId="S::cevher@voisinconsulting.com::df3717af-ac60-494c-bee7-a05e6cf79582" providerId="AD" clId="Web-{3051BCC9-8F25-4AC6-B0DB-44FD1D68B59E}" dt="2018-09-19T10:28:00.951" v="265" actId="20577"/>
          <ac:spMkLst>
            <pc:docMk/>
            <pc:sldMk cId="3572176494" sldId="415"/>
            <ac:spMk id="15" creationId="{2B722B63-849E-472B-8334-4481AFF77631}"/>
          </ac:spMkLst>
        </pc:spChg>
        <pc:spChg chg="mod">
          <ac:chgData name="Cansu Cevher" userId="S::cevher@voisinconsulting.com::df3717af-ac60-494c-bee7-a05e6cf79582" providerId="AD" clId="Web-{3051BCC9-8F25-4AC6-B0DB-44FD1D68B59E}" dt="2018-09-19T10:24:22.851" v="214" actId="20577"/>
          <ac:spMkLst>
            <pc:docMk/>
            <pc:sldMk cId="3572176494" sldId="415"/>
            <ac:spMk id="30" creationId="{3C30A4C7-E345-4A21-958F-A4E186FB8875}"/>
          </ac:spMkLst>
        </pc:spChg>
        <pc:spChg chg="mod">
          <ac:chgData name="Cansu Cevher" userId="S::cevher@voisinconsulting.com::df3717af-ac60-494c-bee7-a05e6cf79582" providerId="AD" clId="Web-{3051BCC9-8F25-4AC6-B0DB-44FD1D68B59E}" dt="2018-09-19T10:24:33.758" v="218" actId="20577"/>
          <ac:spMkLst>
            <pc:docMk/>
            <pc:sldMk cId="3572176494" sldId="415"/>
            <ac:spMk id="67" creationId="{667832FC-B8D4-49DF-B22B-82131DE821F2}"/>
          </ac:spMkLst>
        </pc:spChg>
      </pc:sldChg>
      <pc:sldChg chg="modSp">
        <pc:chgData name="Cansu Cevher" userId="S::cevher@voisinconsulting.com::df3717af-ac60-494c-bee7-a05e6cf79582" providerId="AD" clId="Web-{3051BCC9-8F25-4AC6-B0DB-44FD1D68B59E}" dt="2018-09-19T10:27:30.180" v="251" actId="20577"/>
        <pc:sldMkLst>
          <pc:docMk/>
          <pc:sldMk cId="498301455" sldId="418"/>
        </pc:sldMkLst>
        <pc:spChg chg="mod">
          <ac:chgData name="Cansu Cevher" userId="S::cevher@voisinconsulting.com::df3717af-ac60-494c-bee7-a05e6cf79582" providerId="AD" clId="Web-{3051BCC9-8F25-4AC6-B0DB-44FD1D68B59E}" dt="2018-09-19T10:27:30.180" v="251" actId="20577"/>
          <ac:spMkLst>
            <pc:docMk/>
            <pc:sldMk cId="498301455" sldId="418"/>
            <ac:spMk id="3" creationId="{00000000-0000-0000-0000-000000000000}"/>
          </ac:spMkLst>
        </pc:spChg>
      </pc:sldChg>
      <pc:sldChg chg="modSp">
        <pc:chgData name="Cansu Cevher" userId="S::cevher@voisinconsulting.com::df3717af-ac60-494c-bee7-a05e6cf79582" providerId="AD" clId="Web-{3051BCC9-8F25-4AC6-B0DB-44FD1D68B59E}" dt="2018-09-19T10:25:07.195" v="226" actId="20577"/>
        <pc:sldMkLst>
          <pc:docMk/>
          <pc:sldMk cId="590083829" sldId="419"/>
        </pc:sldMkLst>
        <pc:spChg chg="mod">
          <ac:chgData name="Cansu Cevher" userId="S::cevher@voisinconsulting.com::df3717af-ac60-494c-bee7-a05e6cf79582" providerId="AD" clId="Web-{3051BCC9-8F25-4AC6-B0DB-44FD1D68B59E}" dt="2018-09-19T10:25:07.195" v="226" actId="20577"/>
          <ac:spMkLst>
            <pc:docMk/>
            <pc:sldMk cId="590083829" sldId="419"/>
            <ac:spMk id="20" creationId="{B674B0E7-9298-418F-A56C-F9C110426AA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698" y="2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/>
          <a:lstStyle>
            <a:lvl1pPr algn="r">
              <a:defRPr sz="1300"/>
            </a:lvl1pPr>
          </a:lstStyle>
          <a:p>
            <a:fld id="{7709D52F-1772-435E-BF4A-6EB79836473D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613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698" y="6456613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 anchor="b"/>
          <a:lstStyle>
            <a:lvl1pPr algn="r">
              <a:defRPr sz="1300"/>
            </a:lvl1pPr>
          </a:lstStyle>
          <a:p>
            <a:fld id="{12DE9BB0-AC48-48FD-939F-AE57536327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2488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98" y="2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/>
          <a:lstStyle>
            <a:lvl1pPr algn="r">
              <a:defRPr sz="1300"/>
            </a:lvl1pPr>
          </a:lstStyle>
          <a:p>
            <a:fld id="{542DFABD-FCC2-43FF-B35A-7CA95647248D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01925" y="511175"/>
            <a:ext cx="4524375" cy="254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926" tIns="48964" rIns="97926" bIns="4896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823" y="3228897"/>
            <a:ext cx="7942580" cy="3058954"/>
          </a:xfrm>
          <a:prstGeom prst="rect">
            <a:avLst/>
          </a:prstGeom>
        </p:spPr>
        <p:txBody>
          <a:bodyPr vert="horz" lIns="97926" tIns="48964" rIns="97926" bIns="4896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3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98" y="6456613"/>
            <a:ext cx="4302231" cy="339884"/>
          </a:xfrm>
          <a:prstGeom prst="rect">
            <a:avLst/>
          </a:prstGeom>
        </p:spPr>
        <p:txBody>
          <a:bodyPr vert="horz" lIns="97926" tIns="48964" rIns="97926" bIns="48964" rtlCol="0" anchor="b"/>
          <a:lstStyle>
            <a:lvl1pPr algn="r">
              <a:defRPr sz="1300"/>
            </a:lvl1pPr>
          </a:lstStyle>
          <a:p>
            <a:fld id="{0228D175-3726-4BD0-8E2D-096D8B9944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12650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872000" y="-20539"/>
            <a:ext cx="7272000" cy="4480937"/>
          </a:xfrm>
          <a:prstGeom prst="rect">
            <a:avLst/>
          </a:prstGeom>
          <a:gradFill flip="none" rotWithShape="1">
            <a:gsLst>
              <a:gs pos="100000">
                <a:srgbClr val="8E8E8E"/>
              </a:gs>
              <a:gs pos="0">
                <a:schemeClr val="bg1"/>
              </a:gs>
              <a:gs pos="5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>
            <a:normAutofit/>
          </a:bodyPr>
          <a:lstStyle/>
          <a:p>
            <a:pPr lvl="0" algn="l"/>
            <a:endParaRPr lang="en-US" sz="4000" b="1"/>
          </a:p>
        </p:txBody>
      </p:sp>
      <p:sp>
        <p:nvSpPr>
          <p:cNvPr id="5" name="Rectangle 4"/>
          <p:cNvSpPr/>
          <p:nvPr userDrawn="1"/>
        </p:nvSpPr>
        <p:spPr>
          <a:xfrm>
            <a:off x="0" y="-20194"/>
            <a:ext cx="1800000" cy="44805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871999" y="987426"/>
            <a:ext cx="7272001" cy="3472972"/>
          </a:xfrm>
          <a:prstGeom prst="rect">
            <a:avLst/>
          </a:prstGeom>
        </p:spPr>
        <p:txBody>
          <a:bodyPr lIns="72000" tIns="72000" rIns="72000" bIns="72000" anchor="b">
            <a:normAutofit/>
          </a:bodyPr>
          <a:lstStyle>
            <a:lvl1pPr marL="0" indent="0" algn="r">
              <a:buNone/>
              <a:defRPr sz="4000" b="1" cap="sm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9317" y="1"/>
            <a:ext cx="2018483" cy="987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872000" y="4532400"/>
            <a:ext cx="7272000" cy="540000"/>
          </a:xfrm>
          <a:prstGeom prst="rect">
            <a:avLst/>
          </a:prstGeom>
          <a:solidFill>
            <a:schemeClr val="accent3"/>
          </a:solidFill>
        </p:spPr>
        <p:txBody>
          <a:bodyPr lIns="72000" tIns="72000" rIns="72000" bIns="72000" anchor="ctr">
            <a:normAutofit/>
          </a:bodyPr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4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Rectangle 37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4" name="Rectangle 43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65" name="Straight Connector 64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Rectangle 87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9" name="Rectangle 88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90" name="Straight Connector 89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92" name="Rectangle 91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93" name="Group 92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94" name="Straight Connector 93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7" name="Rectangle 116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18" name="Group 117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119" name="Straight Connector 118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4" name="Group 163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165" name="Straight Connector 164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1" name="Rectangle 210"/>
          <p:cNvSpPr/>
          <p:nvPr userDrawn="1"/>
        </p:nvSpPr>
        <p:spPr>
          <a:xfrm>
            <a:off x="0" y="4532400"/>
            <a:ext cx="1800000" cy="54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05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Experti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720000" y="684000"/>
            <a:ext cx="5544000" cy="36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7200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1200">
                <a:solidFill>
                  <a:schemeClr val="lt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Expertise &amp; </a:t>
            </a:r>
            <a:r>
              <a:rPr lang="en-US" sz="1400" b="1" kern="1200" noProof="0">
                <a:solidFill>
                  <a:schemeClr val="lt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Experience</a:t>
            </a:r>
            <a:endParaRPr lang="en-US" sz="14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product typ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720000" y="1043999"/>
            <a:ext cx="5544000" cy="3492000"/>
          </a:xfrm>
          <a:prstGeom prst="rect">
            <a:avLst/>
          </a:prstGeom>
          <a:solidFill>
            <a:schemeClr val="bg1"/>
          </a:solidFill>
          <a:ln w="3175">
            <a:solidFill>
              <a:srgbClr val="D3D5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noProof="0" dirty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3" hasCustomPrompt="1"/>
          </p:nvPr>
        </p:nvSpPr>
        <p:spPr>
          <a:xfrm>
            <a:off x="6335999" y="684213"/>
            <a:ext cx="2736000" cy="360362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No+ Collaborations</a:t>
            </a:r>
          </a:p>
        </p:txBody>
      </p:sp>
      <p:sp>
        <p:nvSpPr>
          <p:cNvPr id="41" name="Chart Placeholder 40"/>
          <p:cNvSpPr>
            <a:spLocks noGrp="1"/>
          </p:cNvSpPr>
          <p:nvPr>
            <p:ph type="chart" sz="quarter" idx="16"/>
          </p:nvPr>
        </p:nvSpPr>
        <p:spPr>
          <a:xfrm>
            <a:off x="6336000" y="1044000"/>
            <a:ext cx="2736000" cy="4028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 anchorCtr="0">
            <a:normAutofit/>
          </a:bodyPr>
          <a:lstStyle>
            <a:lvl1pPr marL="0" indent="0">
              <a:buFontTx/>
              <a:buNone/>
              <a:defRPr kumimoji="0" lang="en-US" sz="1000" b="1" i="0" u="none" strike="noStrike" kern="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180975" marR="0" lvl="0" indent="-180975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/>
              <a:t>Click icon to add char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720000" y="4532400"/>
            <a:ext cx="5544000" cy="54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>
            <a:lvl1pPr marL="342900" indent="-342900" algn="ctr"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add number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7073508" y="1108726"/>
            <a:ext cx="1279525" cy="2730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334963" indent="0" algn="ctr">
              <a:buFontTx/>
              <a:buNone/>
              <a:defRPr/>
            </a:lvl2pPr>
            <a:lvl3pPr marL="693738" indent="0" algn="ctr">
              <a:buFontTx/>
              <a:buNone/>
              <a:defRPr/>
            </a:lvl3pPr>
            <a:lvl4pPr marL="1050925" indent="0" algn="ctr">
              <a:buFontTx/>
              <a:buNone/>
              <a:defRPr/>
            </a:lvl4pPr>
            <a:lvl5pPr marL="14097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add period (year - year)</a:t>
            </a:r>
          </a:p>
        </p:txBody>
      </p:sp>
    </p:spTree>
    <p:extLst>
      <p:ext uri="{BB962C8B-B14F-4D97-AF65-F5344CB8AC3E}">
        <p14:creationId xmlns:p14="http://schemas.microsoft.com/office/powerpoint/2010/main" val="3446822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.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 userDrawn="1"/>
        </p:nvSpPr>
        <p:spPr>
          <a:xfrm>
            <a:off x="2159865" y="1044000"/>
            <a:ext cx="1296000" cy="1044000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Project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84000"/>
            <a:ext cx="648000" cy="1064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19999" y="1044000"/>
            <a:ext cx="1296000" cy="1044000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Products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20000" y="2170801"/>
            <a:ext cx="5544000" cy="360000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Recent assignments</a:t>
            </a:r>
          </a:p>
        </p:txBody>
      </p:sp>
      <p:sp>
        <p:nvSpPr>
          <p:cNvPr id="24" name="Content Placeholder 1"/>
          <p:cNvSpPr txBox="1">
            <a:spLocks/>
          </p:cNvSpPr>
          <p:nvPr userDrawn="1"/>
        </p:nvSpPr>
        <p:spPr>
          <a:xfrm>
            <a:off x="3528000" y="684000"/>
            <a:ext cx="2736000" cy="360000"/>
          </a:xfrm>
          <a:prstGeom prst="rect">
            <a:avLst/>
          </a:prstGeom>
        </p:spPr>
        <p:txBody>
          <a:bodyPr wrap="square" lIns="0" tIns="108000" rIns="0" bIns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Markets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3527999" y="1044000"/>
            <a:ext cx="2736000" cy="0"/>
          </a:xfrm>
          <a:prstGeom prst="line">
            <a:avLst/>
          </a:prstGeom>
          <a:noFill/>
          <a:ln w="6350" cap="flat" cmpd="sng" algn="ctr">
            <a:solidFill>
              <a:srgbClr val="000346">
                <a:shade val="60000"/>
                <a:satMod val="110000"/>
              </a:srgbClr>
            </a:solidFill>
            <a:prstDash val="solid"/>
          </a:ln>
          <a:effectLst/>
        </p:spPr>
      </p:cxn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21346" y="2530800"/>
            <a:ext cx="8350654" cy="25416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200" kern="1200" noProof="0" dirty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684000"/>
            <a:ext cx="2736000" cy="360000"/>
          </a:xfrm>
          <a:prstGeom prst="rect">
            <a:avLst/>
          </a:prstGeom>
        </p:spPr>
        <p:txBody>
          <a:bodyPr wrap="square" lIns="0" tIns="108000" rIns="0" bIns="0" anchor="t">
            <a:noAutofit/>
          </a:bodyPr>
          <a:lstStyle>
            <a:lvl1pPr marL="342900" indent="-342900" algn="l">
              <a:buFont typeface="Arial" panose="020B0604020202020204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specify time period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3" hasCustomPrompt="1"/>
          </p:nvPr>
        </p:nvSpPr>
        <p:spPr>
          <a:xfrm>
            <a:off x="2160000" y="1044000"/>
            <a:ext cx="1296000" cy="104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14300" indent="-114300" algn="ctr">
              <a:buNone/>
              <a:defRPr kumimoji="0" lang="en-US" sz="4000" b="1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lvl="0" indent="0" algn="ctr"/>
            <a:r>
              <a:rPr lang="en-US"/>
              <a:t>N+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044000"/>
            <a:ext cx="1296000" cy="1044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kumimoji="0" lang="en-US" sz="40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N+</a:t>
            </a:r>
          </a:p>
        </p:txBody>
      </p:sp>
      <p:sp>
        <p:nvSpPr>
          <p:cNvPr id="42" name="Chart Placeholder 69"/>
          <p:cNvSpPr>
            <a:spLocks noGrp="1"/>
          </p:cNvSpPr>
          <p:nvPr>
            <p:ph type="chart" sz="quarter" idx="16"/>
          </p:nvPr>
        </p:nvSpPr>
        <p:spPr>
          <a:xfrm>
            <a:off x="3528000" y="1044000"/>
            <a:ext cx="2736000" cy="1044000"/>
          </a:xfrm>
          <a:prstGeom prst="rect">
            <a:avLst/>
          </a:prstGeom>
          <a:ln w="3175"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6336000" y="684000"/>
            <a:ext cx="2736000" cy="18468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16200000" scaled="1"/>
            <a:tileRect/>
          </a:gradFill>
          <a:ln w="3175">
            <a:solidFill>
              <a:srgbClr val="D3D5FF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72000" tIns="108000" rIns="72000" bIns="108000" rtlCol="0" anchor="t" anchorCtr="0">
            <a:norm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969696"/>
              </a:buClr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Indications includ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336000" y="1044001"/>
            <a:ext cx="2736000" cy="1486800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marL="243450" indent="-171450"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accent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add therapeutic area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00" y="684005"/>
            <a:ext cx="576000" cy="80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376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 w/ 2 sid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245600"/>
            <a:ext cx="4104000" cy="36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rmAutofit/>
          </a:bodyPr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968000" y="1245600"/>
            <a:ext cx="4104000" cy="18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ext</a:t>
            </a:r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968000" y="3196800"/>
            <a:ext cx="4104000" cy="18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1"/>
            <a:ext cx="8352000" cy="48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21346" y="1605600"/>
            <a:ext cx="4104000" cy="34668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32" hasCustomPrompt="1"/>
          </p:nvPr>
        </p:nvSpPr>
        <p:spPr>
          <a:xfrm>
            <a:off x="4968000" y="1425600"/>
            <a:ext cx="4104000" cy="16992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33" hasCustomPrompt="1"/>
          </p:nvPr>
        </p:nvSpPr>
        <p:spPr>
          <a:xfrm>
            <a:off x="4968000" y="3376800"/>
            <a:ext cx="4104000" cy="17064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726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 w/ 3 sid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245600"/>
            <a:ext cx="4104000" cy="36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rmAutofit/>
          </a:bodyPr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968000" y="1245600"/>
            <a:ext cx="4104000" cy="18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ext</a:t>
            </a:r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968000" y="2545200"/>
            <a:ext cx="4104000" cy="18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1"/>
            <a:ext cx="8352000" cy="48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21346" y="1605600"/>
            <a:ext cx="4104000" cy="34668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7" name="Text Placeholder 31"/>
          <p:cNvSpPr>
            <a:spLocks noGrp="1"/>
          </p:cNvSpPr>
          <p:nvPr>
            <p:ph type="body" sz="quarter" idx="32" hasCustomPrompt="1"/>
          </p:nvPr>
        </p:nvSpPr>
        <p:spPr>
          <a:xfrm>
            <a:off x="4968000" y="1425600"/>
            <a:ext cx="4104000" cy="10476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33" hasCustomPrompt="1"/>
          </p:nvPr>
        </p:nvSpPr>
        <p:spPr>
          <a:xfrm>
            <a:off x="4968000" y="2725200"/>
            <a:ext cx="4104000" cy="10476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968618" y="3844800"/>
            <a:ext cx="4104000" cy="18000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rIns="72000" anchor="ctr"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35" hasCustomPrompt="1"/>
          </p:nvPr>
        </p:nvSpPr>
        <p:spPr>
          <a:xfrm>
            <a:off x="4968618" y="4024800"/>
            <a:ext cx="4104000" cy="104760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800" smtClean="0"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 lang="en-US" smtClean="0"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 lang="en-US" sz="1800" smtClean="0"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 lang="en-US" sz="1800"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7018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8503877" y="4491969"/>
            <a:ext cx="457195" cy="457195"/>
            <a:chOff x="2834659" y="3028945"/>
            <a:chExt cx="731512" cy="731512"/>
          </a:xfrm>
        </p:grpSpPr>
        <p:sp>
          <p:nvSpPr>
            <p:cNvPr id="17" name="Oval 16"/>
            <p:cNvSpPr/>
            <p:nvPr userDrawn="1"/>
          </p:nvSpPr>
          <p:spPr>
            <a:xfrm>
              <a:off x="2834659" y="3028945"/>
              <a:ext cx="731512" cy="731512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Left Arrow 17"/>
            <p:cNvSpPr/>
            <p:nvPr userDrawn="1"/>
          </p:nvSpPr>
          <p:spPr>
            <a:xfrm>
              <a:off x="2926098" y="3218857"/>
              <a:ext cx="548634" cy="365756"/>
            </a:xfrm>
            <a:prstGeom prst="leftArrow">
              <a:avLst/>
            </a:prstGeom>
            <a:solidFill>
              <a:schemeClr val="accent2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Freeform 4">
            <a:hlinkClick r:id="" action="ppaction://noaction"/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1231368" y="193484"/>
            <a:ext cx="6661901" cy="4755680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8" name="Text Placeholder 210"/>
          <p:cNvSpPr>
            <a:spLocks noGrp="1"/>
          </p:cNvSpPr>
          <p:nvPr>
            <p:ph type="body" sz="quarter" idx="13"/>
          </p:nvPr>
        </p:nvSpPr>
        <p:spPr>
          <a:xfrm>
            <a:off x="2381316" y="349036"/>
            <a:ext cx="4381296" cy="668251"/>
          </a:xfrm>
          <a:prstGeom prst="rect">
            <a:avLst/>
          </a:prstGeom>
        </p:spPr>
        <p:txBody>
          <a:bodyPr vert="horz" wrap="square" lIns="0" tIns="7200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8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</a:t>
            </a:r>
          </a:p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 add text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358448" y="1042464"/>
            <a:ext cx="4434043" cy="3906699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spcBef>
                <a:spcPts val="0"/>
              </a:spcBef>
              <a:spcAft>
                <a:spcPts val="1200"/>
              </a:spcAft>
              <a:defRPr sz="1400"/>
            </a:lvl2pPr>
            <a:lvl3pPr>
              <a:spcBef>
                <a:spcPts val="0"/>
              </a:spcBef>
              <a:spcAft>
                <a:spcPts val="1200"/>
              </a:spcAft>
              <a:defRPr sz="1100"/>
            </a:lvl3pPr>
            <a:lvl4pPr>
              <a:spcBef>
                <a:spcPts val="0"/>
              </a:spcBef>
              <a:spcAft>
                <a:spcPts val="1200"/>
              </a:spcAft>
              <a:defRPr sz="1050"/>
            </a:lvl4pPr>
            <a:lvl5pPr>
              <a:spcBef>
                <a:spcPts val="0"/>
              </a:spcBef>
              <a:spcAft>
                <a:spcPts val="12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6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0" name="Rectangle 49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1" name="Rectangle 50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6" name="Rectangle 55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7" name="Rectangle 56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2" name="Rectangle 71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76" name="Group 75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77" name="Straight Connector 76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" name="Rectangle 99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1" name="Rectangle 100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02" name="Straight Connector 101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05" name="Group 104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106" name="Straight Connector 105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9" name="Rectangle 128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30" name="Group 129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131" name="Straight Connector 130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Group 175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177" name="Straight Connector 176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3" name="Rectangle 222"/>
          <p:cNvSpPr/>
          <p:nvPr userDrawn="1"/>
        </p:nvSpPr>
        <p:spPr>
          <a:xfrm>
            <a:off x="0" y="504000"/>
            <a:ext cx="647056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19D073D2-F7DC-459A-94F3-7622EF51676A}" type="slidenum">
              <a:rPr lang="fr-FR" sz="900" kern="1200" smtClean="0">
                <a:solidFill>
                  <a:schemeClr val="tx1">
                    <a:tint val="75000"/>
                  </a:schemeClr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algn="ctr"/>
              <a:t>‹#›</a:t>
            </a:fld>
            <a:endParaRPr lang="en-US" sz="9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224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32438" y="937891"/>
            <a:ext cx="990599" cy="48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5" name="Rectangle 224"/>
          <p:cNvSpPr/>
          <p:nvPr userDrawn="1"/>
        </p:nvSpPr>
        <p:spPr>
          <a:xfrm>
            <a:off x="120587" y="684865"/>
            <a:ext cx="484548" cy="99059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7761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Freeform 5">
            <a:hlinkClick r:id="" action="ppaction://noaction"/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646136" y="2191200"/>
            <a:ext cx="1326586" cy="1112893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4" name="Freeform 6">
            <a:hlinkClick r:id="" action="ppaction://noaction"/>
          </p:cNvPr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6747348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7" name="Freeform 4">
            <a:hlinkClick r:id="" action="ppaction://noaction"/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547156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1" name="Text Placeholder 2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22077" y="2002363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3" name="Text Placeholder 21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931877" y="2011424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4" name="Text Placeholder 2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26977" y="2602916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ext</a:t>
            </a:r>
          </a:p>
        </p:txBody>
      </p:sp>
      <p:sp>
        <p:nvSpPr>
          <p:cNvPr id="55" name="Freeform 4">
            <a:hlinkClick r:id="" action="ppaction://noaction"/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550627" y="276988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56" name="Freeform 4">
            <a:hlinkClick r:id="" action="ppaction://noaction"/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760427" y="277369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57" name="Freeform 4">
            <a:hlinkClick r:id="" action="ppaction://noaction"/>
          </p:cNvPr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5641813" y="101728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58" name="Freeform 4">
            <a:hlinkClick r:id="" action="ppaction://noaction"/>
          </p:cNvPr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5651338" y="3379140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9" name="Text Placeholder 21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872001" y="1017673"/>
            <a:ext cx="1944000" cy="3448050"/>
          </a:xfrm>
          <a:prstGeom prst="roundRect">
            <a:avLst>
              <a:gd name="adj" fmla="val 8804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0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5pPr marL="1828800" indent="0">
              <a:buNone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69" name="AutoShape 15"/>
          <p:cNvSpPr>
            <a:spLocks noChangeArrowheads="1"/>
          </p:cNvSpPr>
          <p:nvPr userDrawn="1"/>
        </p:nvSpPr>
        <p:spPr bwMode="gray">
          <a:xfrm>
            <a:off x="1450536" y="4790804"/>
            <a:ext cx="1568573" cy="283857"/>
          </a:xfrm>
          <a:prstGeom prst="homePlate">
            <a:avLst>
              <a:gd name="adj" fmla="val 30359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Pre-Clinical</a:t>
            </a:r>
          </a:p>
        </p:txBody>
      </p:sp>
      <p:sp>
        <p:nvSpPr>
          <p:cNvPr id="70" name="AutoShape 16"/>
          <p:cNvSpPr>
            <a:spLocks noChangeArrowheads="1"/>
          </p:cNvSpPr>
          <p:nvPr userDrawn="1"/>
        </p:nvSpPr>
        <p:spPr bwMode="gray">
          <a:xfrm>
            <a:off x="2894108" y="4790804"/>
            <a:ext cx="1568900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Early Clinical Dev.</a:t>
            </a:r>
          </a:p>
        </p:txBody>
      </p:sp>
      <p:sp>
        <p:nvSpPr>
          <p:cNvPr id="71" name="AutoShape 16"/>
          <p:cNvSpPr>
            <a:spLocks noChangeArrowheads="1"/>
          </p:cNvSpPr>
          <p:nvPr userDrawn="1"/>
        </p:nvSpPr>
        <p:spPr bwMode="gray">
          <a:xfrm>
            <a:off x="4337680" y="4790804"/>
            <a:ext cx="1546032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Late Clinical Dev.</a:t>
            </a:r>
          </a:p>
        </p:txBody>
      </p:sp>
      <p:sp>
        <p:nvSpPr>
          <p:cNvPr id="72" name="AutoShape 16"/>
          <p:cNvSpPr>
            <a:spLocks noChangeArrowheads="1"/>
          </p:cNvSpPr>
          <p:nvPr userDrawn="1"/>
        </p:nvSpPr>
        <p:spPr bwMode="gray">
          <a:xfrm>
            <a:off x="5781253" y="4790804"/>
            <a:ext cx="1546359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Registration</a:t>
            </a:r>
          </a:p>
        </p:txBody>
      </p:sp>
      <p:sp>
        <p:nvSpPr>
          <p:cNvPr id="73" name="AutoShape 16"/>
          <p:cNvSpPr>
            <a:spLocks noChangeArrowheads="1"/>
          </p:cNvSpPr>
          <p:nvPr userDrawn="1"/>
        </p:nvSpPr>
        <p:spPr bwMode="gray">
          <a:xfrm>
            <a:off x="7224824" y="4790804"/>
            <a:ext cx="1836627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Launch &amp; Life Cyc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 flipH="1" flipV="1">
            <a:off x="1519964" y="4790804"/>
            <a:ext cx="7463184" cy="26497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</a:ln>
          <a:effectLst/>
        </p:spPr>
      </p:cxnSp>
      <p:grpSp>
        <p:nvGrpSpPr>
          <p:cNvPr id="75" name="Group 74"/>
          <p:cNvGrpSpPr/>
          <p:nvPr userDrawn="1"/>
        </p:nvGrpSpPr>
        <p:grpSpPr>
          <a:xfrm>
            <a:off x="29384" y="3349110"/>
            <a:ext cx="1723122" cy="1610005"/>
            <a:chOff x="29384" y="3349110"/>
            <a:chExt cx="1723122" cy="1610005"/>
          </a:xfrm>
        </p:grpSpPr>
        <p:sp>
          <p:nvSpPr>
            <p:cNvPr id="76" name="Rectangle 81"/>
            <p:cNvSpPr/>
            <p:nvPr userDrawn="1"/>
          </p:nvSpPr>
          <p:spPr>
            <a:xfrm>
              <a:off x="1243044" y="3352469"/>
              <a:ext cx="509462" cy="1606646"/>
            </a:xfrm>
            <a:custGeom>
              <a:avLst/>
              <a:gdLst>
                <a:gd name="connsiteX0" fmla="*/ 0 w 1224136"/>
                <a:gd name="connsiteY0" fmla="*/ 0 h 2159132"/>
                <a:gd name="connsiteX1" fmla="*/ 1224136 w 1224136"/>
                <a:gd name="connsiteY1" fmla="*/ 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528811 w 1224136"/>
                <a:gd name="connsiteY1" fmla="*/ 1281112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319261 w 1224136"/>
                <a:gd name="connsiteY1" fmla="*/ 194310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200025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1985963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33561 w 1224136"/>
                <a:gd name="connsiteY1" fmla="*/ 1857375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12262"/>
                <a:gd name="connsiteY0" fmla="*/ 0 h 2159132"/>
                <a:gd name="connsiteX1" fmla="*/ 433561 w 1212262"/>
                <a:gd name="connsiteY1" fmla="*/ 1857375 h 2159132"/>
                <a:gd name="connsiteX2" fmla="*/ 1212262 w 1212262"/>
                <a:gd name="connsiteY2" fmla="*/ 2058192 h 2159132"/>
                <a:gd name="connsiteX3" fmla="*/ 0 w 1212262"/>
                <a:gd name="connsiteY3" fmla="*/ 2159132 h 2159132"/>
                <a:gd name="connsiteX4" fmla="*/ 0 w 1212262"/>
                <a:gd name="connsiteY4" fmla="*/ 0 h 2159132"/>
                <a:gd name="connsiteX0" fmla="*/ 0 w 1230370"/>
                <a:gd name="connsiteY0" fmla="*/ 0 h 2159132"/>
                <a:gd name="connsiteX1" fmla="*/ 433561 w 1230370"/>
                <a:gd name="connsiteY1" fmla="*/ 1857375 h 2159132"/>
                <a:gd name="connsiteX2" fmla="*/ 1230370 w 1230370"/>
                <a:gd name="connsiteY2" fmla="*/ 2071772 h 2159132"/>
                <a:gd name="connsiteX3" fmla="*/ 0 w 1230370"/>
                <a:gd name="connsiteY3" fmla="*/ 2159132 h 2159132"/>
                <a:gd name="connsiteX4" fmla="*/ 0 w 1230370"/>
                <a:gd name="connsiteY4" fmla="*/ 0 h 2159132"/>
                <a:gd name="connsiteX0" fmla="*/ 0 w 1033212"/>
                <a:gd name="connsiteY0" fmla="*/ 0 h 2159132"/>
                <a:gd name="connsiteX1" fmla="*/ 433561 w 1033212"/>
                <a:gd name="connsiteY1" fmla="*/ 1857375 h 2159132"/>
                <a:gd name="connsiteX2" fmla="*/ 1033212 w 1033212"/>
                <a:gd name="connsiteY2" fmla="*/ 1900897 h 2159132"/>
                <a:gd name="connsiteX3" fmla="*/ 0 w 1033212"/>
                <a:gd name="connsiteY3" fmla="*/ 2159132 h 2159132"/>
                <a:gd name="connsiteX4" fmla="*/ 0 w 1033212"/>
                <a:gd name="connsiteY4" fmla="*/ 0 h 2159132"/>
                <a:gd name="connsiteX0" fmla="*/ 0 w 1042736"/>
                <a:gd name="connsiteY0" fmla="*/ 0 h 1795764"/>
                <a:gd name="connsiteX1" fmla="*/ 443085 w 1042736"/>
                <a:gd name="connsiteY1" fmla="*/ 1494007 h 1795764"/>
                <a:gd name="connsiteX2" fmla="*/ 1042736 w 1042736"/>
                <a:gd name="connsiteY2" fmla="*/ 1537529 h 1795764"/>
                <a:gd name="connsiteX3" fmla="*/ 9524 w 1042736"/>
                <a:gd name="connsiteY3" fmla="*/ 1795764 h 1795764"/>
                <a:gd name="connsiteX4" fmla="*/ 0 w 1042736"/>
                <a:gd name="connsiteY4" fmla="*/ 0 h 1795764"/>
                <a:gd name="connsiteX0" fmla="*/ 14624 w 1033546"/>
                <a:gd name="connsiteY0" fmla="*/ 0 h 1795764"/>
                <a:gd name="connsiteX1" fmla="*/ 433895 w 1033546"/>
                <a:gd name="connsiteY1" fmla="*/ 1494007 h 1795764"/>
                <a:gd name="connsiteX2" fmla="*/ 1033546 w 1033546"/>
                <a:gd name="connsiteY2" fmla="*/ 1537529 h 1795764"/>
                <a:gd name="connsiteX3" fmla="*/ 334 w 1033546"/>
                <a:gd name="connsiteY3" fmla="*/ 1795764 h 1795764"/>
                <a:gd name="connsiteX4" fmla="*/ 14624 w 1033546"/>
                <a:gd name="connsiteY4" fmla="*/ 0 h 1795764"/>
                <a:gd name="connsiteX0" fmla="*/ 0 w 1018922"/>
                <a:gd name="connsiteY0" fmla="*/ 0 h 1795764"/>
                <a:gd name="connsiteX1" fmla="*/ 419271 w 1018922"/>
                <a:gd name="connsiteY1" fmla="*/ 1494007 h 1795764"/>
                <a:gd name="connsiteX2" fmla="*/ 1018922 w 1018922"/>
                <a:gd name="connsiteY2" fmla="*/ 1537529 h 1795764"/>
                <a:gd name="connsiteX3" fmla="*/ 4760 w 1018922"/>
                <a:gd name="connsiteY3" fmla="*/ 1795764 h 1795764"/>
                <a:gd name="connsiteX4" fmla="*/ 0 w 1018922"/>
                <a:gd name="connsiteY4" fmla="*/ 0 h 1795764"/>
                <a:gd name="connsiteX0" fmla="*/ 0 w 1018922"/>
                <a:gd name="connsiteY0" fmla="*/ 0 h 1714451"/>
                <a:gd name="connsiteX1" fmla="*/ 419271 w 1018922"/>
                <a:gd name="connsiteY1" fmla="*/ 1494007 h 1714451"/>
                <a:gd name="connsiteX2" fmla="*/ 1018922 w 1018922"/>
                <a:gd name="connsiteY2" fmla="*/ 1537529 h 1714451"/>
                <a:gd name="connsiteX3" fmla="*/ 9522 w 1018922"/>
                <a:gd name="connsiteY3" fmla="*/ 1714451 h 1714451"/>
                <a:gd name="connsiteX4" fmla="*/ 0 w 1018922"/>
                <a:gd name="connsiteY4" fmla="*/ 0 h 171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922" h="1714451">
                  <a:moveTo>
                    <a:pt x="0" y="0"/>
                  </a:moveTo>
                  <a:lnTo>
                    <a:pt x="419271" y="1494007"/>
                  </a:lnTo>
                  <a:lnTo>
                    <a:pt x="1018922" y="1537529"/>
                  </a:lnTo>
                  <a:lnTo>
                    <a:pt x="9522" y="1714451"/>
                  </a:lnTo>
                  <a:cubicBezTo>
                    <a:pt x="6347" y="1115863"/>
                    <a:pt x="3175" y="598588"/>
                    <a:pt x="0" y="0"/>
                  </a:cubicBezTo>
                  <a:close/>
                </a:path>
              </a:pathLst>
            </a:custGeom>
            <a:solidFill>
              <a:srgbClr val="000346"/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9384" y="3349110"/>
              <a:ext cx="1224136" cy="337401"/>
            </a:xfrm>
            <a:prstGeom prst="rect">
              <a:avLst/>
            </a:prstGeom>
            <a:solidFill>
              <a:srgbClr val="000346"/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Regulatory</a:t>
              </a:r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29384" y="3686511"/>
            <a:ext cx="1722901" cy="1230421"/>
            <a:chOff x="29384" y="3686511"/>
            <a:chExt cx="1722901" cy="1230421"/>
          </a:xfrm>
        </p:grpSpPr>
        <p:sp>
          <p:nvSpPr>
            <p:cNvPr id="79" name="Rectangle 72"/>
            <p:cNvSpPr/>
            <p:nvPr userDrawn="1"/>
          </p:nvSpPr>
          <p:spPr>
            <a:xfrm>
              <a:off x="1242649" y="3686856"/>
              <a:ext cx="509636" cy="1230076"/>
            </a:xfrm>
            <a:custGeom>
              <a:avLst/>
              <a:gdLst>
                <a:gd name="connsiteX0" fmla="*/ 0 w 1224136"/>
                <a:gd name="connsiteY0" fmla="*/ 0 h 1799092"/>
                <a:gd name="connsiteX1" fmla="*/ 1224136 w 1224136"/>
                <a:gd name="connsiteY1" fmla="*/ 0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57361 w 1224136"/>
                <a:gd name="connsiteY1" fmla="*/ 1609725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62124 w 1224136"/>
                <a:gd name="connsiteY1" fmla="*/ 1519238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15084"/>
                <a:gd name="connsiteY0" fmla="*/ 0 h 1799092"/>
                <a:gd name="connsiteX1" fmla="*/ 362124 w 1215084"/>
                <a:gd name="connsiteY1" fmla="*/ 1519238 h 1799092"/>
                <a:gd name="connsiteX2" fmla="*/ 1215084 w 1215084"/>
                <a:gd name="connsiteY2" fmla="*/ 1708557 h 1799092"/>
                <a:gd name="connsiteX3" fmla="*/ 0 w 1215084"/>
                <a:gd name="connsiteY3" fmla="*/ 1799092 h 1799092"/>
                <a:gd name="connsiteX4" fmla="*/ 0 w 1215084"/>
                <a:gd name="connsiteY4" fmla="*/ 0 h 1799092"/>
                <a:gd name="connsiteX0" fmla="*/ 0 w 1038322"/>
                <a:gd name="connsiteY0" fmla="*/ 0 h 1799092"/>
                <a:gd name="connsiteX1" fmla="*/ 362124 w 1038322"/>
                <a:gd name="connsiteY1" fmla="*/ 1519238 h 1799092"/>
                <a:gd name="connsiteX2" fmla="*/ 1038322 w 1038322"/>
                <a:gd name="connsiteY2" fmla="*/ 1546675 h 1799092"/>
                <a:gd name="connsiteX3" fmla="*/ 0 w 1038322"/>
                <a:gd name="connsiteY3" fmla="*/ 1799092 h 1799092"/>
                <a:gd name="connsiteX4" fmla="*/ 0 w 1038322"/>
                <a:gd name="connsiteY4" fmla="*/ 0 h 1799092"/>
                <a:gd name="connsiteX0" fmla="*/ 14286 w 1038322"/>
                <a:gd name="connsiteY0" fmla="*/ 0 h 1773325"/>
                <a:gd name="connsiteX1" fmla="*/ 362124 w 1038322"/>
                <a:gd name="connsiteY1" fmla="*/ 1493471 h 1773325"/>
                <a:gd name="connsiteX2" fmla="*/ 1038322 w 1038322"/>
                <a:gd name="connsiteY2" fmla="*/ 1520908 h 1773325"/>
                <a:gd name="connsiteX3" fmla="*/ 0 w 1038322"/>
                <a:gd name="connsiteY3" fmla="*/ 1773325 h 1773325"/>
                <a:gd name="connsiteX4" fmla="*/ 14286 w 1038322"/>
                <a:gd name="connsiteY4" fmla="*/ 0 h 1773325"/>
                <a:gd name="connsiteX0" fmla="*/ 4762 w 1028798"/>
                <a:gd name="connsiteY0" fmla="*/ 0 h 1663815"/>
                <a:gd name="connsiteX1" fmla="*/ 352600 w 1028798"/>
                <a:gd name="connsiteY1" fmla="*/ 1493471 h 1663815"/>
                <a:gd name="connsiteX2" fmla="*/ 1028798 w 1028798"/>
                <a:gd name="connsiteY2" fmla="*/ 1520908 h 1663815"/>
                <a:gd name="connsiteX3" fmla="*/ 0 w 1028798"/>
                <a:gd name="connsiteY3" fmla="*/ 1663815 h 1663815"/>
                <a:gd name="connsiteX4" fmla="*/ 4762 w 1028798"/>
                <a:gd name="connsiteY4" fmla="*/ 0 h 1663815"/>
                <a:gd name="connsiteX0" fmla="*/ 4762 w 1019272"/>
                <a:gd name="connsiteY0" fmla="*/ 0 h 1663815"/>
                <a:gd name="connsiteX1" fmla="*/ 352600 w 1019272"/>
                <a:gd name="connsiteY1" fmla="*/ 1493471 h 1663815"/>
                <a:gd name="connsiteX2" fmla="*/ 1019272 w 1019272"/>
                <a:gd name="connsiteY2" fmla="*/ 1495140 h 1663815"/>
                <a:gd name="connsiteX3" fmla="*/ 0 w 1019272"/>
                <a:gd name="connsiteY3" fmla="*/ 1663815 h 1663815"/>
                <a:gd name="connsiteX4" fmla="*/ 4762 w 1019272"/>
                <a:gd name="connsiteY4" fmla="*/ 0 h 166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272" h="1663815">
                  <a:moveTo>
                    <a:pt x="4762" y="0"/>
                  </a:moveTo>
                  <a:lnTo>
                    <a:pt x="352600" y="1493471"/>
                  </a:lnTo>
                  <a:lnTo>
                    <a:pt x="1019272" y="1495140"/>
                  </a:lnTo>
                  <a:lnTo>
                    <a:pt x="0" y="1663815"/>
                  </a:lnTo>
                  <a:cubicBezTo>
                    <a:pt x="1587" y="1109210"/>
                    <a:pt x="3175" y="554605"/>
                    <a:pt x="4762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29384" y="3686511"/>
              <a:ext cx="1224136" cy="33740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MC &amp; Quality</a:t>
              </a:r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29384" y="4024151"/>
            <a:ext cx="1731500" cy="923057"/>
            <a:chOff x="29384" y="4024151"/>
            <a:chExt cx="1731500" cy="923057"/>
          </a:xfrm>
        </p:grpSpPr>
        <p:sp>
          <p:nvSpPr>
            <p:cNvPr id="82" name="Rectangle 74"/>
            <p:cNvSpPr/>
            <p:nvPr userDrawn="1"/>
          </p:nvSpPr>
          <p:spPr>
            <a:xfrm>
              <a:off x="1251139" y="4026532"/>
              <a:ext cx="509745" cy="920676"/>
            </a:xfrm>
            <a:custGeom>
              <a:avLst/>
              <a:gdLst>
                <a:gd name="connsiteX0" fmla="*/ 0 w 1224136"/>
                <a:gd name="connsiteY0" fmla="*/ 0 h 1079012"/>
                <a:gd name="connsiteX1" fmla="*/ 1224136 w 1224136"/>
                <a:gd name="connsiteY1" fmla="*/ 0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90588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979424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033778"/>
                <a:gd name="connsiteY0" fmla="*/ 0 h 1079012"/>
                <a:gd name="connsiteX1" fmla="*/ 214486 w 1033778"/>
                <a:gd name="connsiteY1" fmla="*/ 866776 h 1079012"/>
                <a:gd name="connsiteX2" fmla="*/ 1033778 w 1033778"/>
                <a:gd name="connsiteY2" fmla="*/ 817544 h 1079012"/>
                <a:gd name="connsiteX3" fmla="*/ 0 w 1033778"/>
                <a:gd name="connsiteY3" fmla="*/ 1079012 h 1079012"/>
                <a:gd name="connsiteX4" fmla="*/ 0 w 1033778"/>
                <a:gd name="connsiteY4" fmla="*/ 0 h 1079012"/>
                <a:gd name="connsiteX0" fmla="*/ 14288 w 1033778"/>
                <a:gd name="connsiteY0" fmla="*/ 0 h 1076471"/>
                <a:gd name="connsiteX1" fmla="*/ 214486 w 1033778"/>
                <a:gd name="connsiteY1" fmla="*/ 864235 h 1076471"/>
                <a:gd name="connsiteX2" fmla="*/ 1033778 w 1033778"/>
                <a:gd name="connsiteY2" fmla="*/ 815003 h 1076471"/>
                <a:gd name="connsiteX3" fmla="*/ 0 w 1033778"/>
                <a:gd name="connsiteY3" fmla="*/ 1076471 h 1076471"/>
                <a:gd name="connsiteX4" fmla="*/ 14288 w 1033778"/>
                <a:gd name="connsiteY4" fmla="*/ 0 h 1076471"/>
                <a:gd name="connsiteX0" fmla="*/ 0 w 1019490"/>
                <a:gd name="connsiteY0" fmla="*/ 0 h 982452"/>
                <a:gd name="connsiteX1" fmla="*/ 200198 w 1019490"/>
                <a:gd name="connsiteY1" fmla="*/ 864235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  <a:gd name="connsiteX0" fmla="*/ 0 w 1019490"/>
                <a:gd name="connsiteY0" fmla="*/ 0 h 982452"/>
                <a:gd name="connsiteX1" fmla="*/ 219248 w 1019490"/>
                <a:gd name="connsiteY1" fmla="*/ 854070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490" h="982452">
                  <a:moveTo>
                    <a:pt x="0" y="0"/>
                  </a:moveTo>
                  <a:lnTo>
                    <a:pt x="219248" y="854070"/>
                  </a:lnTo>
                  <a:lnTo>
                    <a:pt x="1019490" y="815003"/>
                  </a:lnTo>
                  <a:lnTo>
                    <a:pt x="9524" y="982452"/>
                  </a:lnTo>
                  <a:cubicBezTo>
                    <a:pt x="6349" y="654968"/>
                    <a:pt x="3175" y="32748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Rectangle 82"/>
            <p:cNvSpPr/>
            <p:nvPr userDrawn="1"/>
          </p:nvSpPr>
          <p:spPr>
            <a:xfrm>
              <a:off x="29384" y="4024151"/>
              <a:ext cx="1224136" cy="33740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linical trial management</a:t>
              </a:r>
            </a:p>
          </p:txBody>
        </p:sp>
      </p:grpSp>
      <p:grpSp>
        <p:nvGrpSpPr>
          <p:cNvPr id="84" name="Group 83"/>
          <p:cNvGrpSpPr/>
          <p:nvPr userDrawn="1"/>
        </p:nvGrpSpPr>
        <p:grpSpPr>
          <a:xfrm>
            <a:off x="29385" y="4359169"/>
            <a:ext cx="1722877" cy="652529"/>
            <a:chOff x="29385" y="4359169"/>
            <a:chExt cx="1722877" cy="652529"/>
          </a:xfrm>
        </p:grpSpPr>
        <p:sp>
          <p:nvSpPr>
            <p:cNvPr id="85" name="Rectangle 76"/>
            <p:cNvSpPr/>
            <p:nvPr userDrawn="1"/>
          </p:nvSpPr>
          <p:spPr>
            <a:xfrm>
              <a:off x="1241265" y="4359169"/>
              <a:ext cx="510997" cy="602325"/>
            </a:xfrm>
            <a:custGeom>
              <a:avLst/>
              <a:gdLst>
                <a:gd name="connsiteX0" fmla="*/ 0 w 1224136"/>
                <a:gd name="connsiteY0" fmla="*/ 0 h 718972"/>
                <a:gd name="connsiteX1" fmla="*/ 1224136 w 1224136"/>
                <a:gd name="connsiteY1" fmla="*/ 0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24136"/>
                <a:gd name="connsiteY0" fmla="*/ 0 h 718972"/>
                <a:gd name="connsiteX1" fmla="*/ 143048 w 1224136"/>
                <a:gd name="connsiteY1" fmla="*/ 542925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15082"/>
                <a:gd name="connsiteY0" fmla="*/ 0 h 718972"/>
                <a:gd name="connsiteX1" fmla="*/ 143048 w 1215082"/>
                <a:gd name="connsiteY1" fmla="*/ 542925 h 718972"/>
                <a:gd name="connsiteX2" fmla="*/ 1215082 w 1215082"/>
                <a:gd name="connsiteY2" fmla="*/ 623910 h 718972"/>
                <a:gd name="connsiteX3" fmla="*/ 0 w 1215082"/>
                <a:gd name="connsiteY3" fmla="*/ 718972 h 718972"/>
                <a:gd name="connsiteX4" fmla="*/ 0 w 1215082"/>
                <a:gd name="connsiteY4" fmla="*/ 0 h 718972"/>
                <a:gd name="connsiteX0" fmla="*/ 0 w 1031522"/>
                <a:gd name="connsiteY0" fmla="*/ 0 h 718972"/>
                <a:gd name="connsiteX1" fmla="*/ 143048 w 1031522"/>
                <a:gd name="connsiteY1" fmla="*/ 542925 h 718972"/>
                <a:gd name="connsiteX2" fmla="*/ 1031522 w 1031522"/>
                <a:gd name="connsiteY2" fmla="*/ 462029 h 718972"/>
                <a:gd name="connsiteX3" fmla="*/ 0 w 1031522"/>
                <a:gd name="connsiteY3" fmla="*/ 718972 h 718972"/>
                <a:gd name="connsiteX4" fmla="*/ 0 w 1031522"/>
                <a:gd name="connsiteY4" fmla="*/ 0 h 718972"/>
                <a:gd name="connsiteX0" fmla="*/ 9526 w 1031522"/>
                <a:gd name="connsiteY0" fmla="*/ 0 h 716430"/>
                <a:gd name="connsiteX1" fmla="*/ 143048 w 1031522"/>
                <a:gd name="connsiteY1" fmla="*/ 540383 h 716430"/>
                <a:gd name="connsiteX2" fmla="*/ 1031522 w 1031522"/>
                <a:gd name="connsiteY2" fmla="*/ 459487 h 716430"/>
                <a:gd name="connsiteX3" fmla="*/ 0 w 1031522"/>
                <a:gd name="connsiteY3" fmla="*/ 716430 h 716430"/>
                <a:gd name="connsiteX4" fmla="*/ 9526 w 1031522"/>
                <a:gd name="connsiteY4" fmla="*/ 0 h 716430"/>
                <a:gd name="connsiteX0" fmla="*/ 0 w 1021996"/>
                <a:gd name="connsiteY0" fmla="*/ 0 h 637658"/>
                <a:gd name="connsiteX1" fmla="*/ 133522 w 1021996"/>
                <a:gd name="connsiteY1" fmla="*/ 540383 h 637658"/>
                <a:gd name="connsiteX2" fmla="*/ 1021996 w 1021996"/>
                <a:gd name="connsiteY2" fmla="*/ 459487 h 637658"/>
                <a:gd name="connsiteX3" fmla="*/ 9524 w 1021996"/>
                <a:gd name="connsiteY3" fmla="*/ 637658 h 637658"/>
                <a:gd name="connsiteX4" fmla="*/ 0 w 1021996"/>
                <a:gd name="connsiteY4" fmla="*/ 0 h 637658"/>
                <a:gd name="connsiteX0" fmla="*/ 0 w 1021996"/>
                <a:gd name="connsiteY0" fmla="*/ 0 h 642741"/>
                <a:gd name="connsiteX1" fmla="*/ 133522 w 1021996"/>
                <a:gd name="connsiteY1" fmla="*/ 545466 h 642741"/>
                <a:gd name="connsiteX2" fmla="*/ 1021996 w 1021996"/>
                <a:gd name="connsiteY2" fmla="*/ 464570 h 642741"/>
                <a:gd name="connsiteX3" fmla="*/ 9524 w 1021996"/>
                <a:gd name="connsiteY3" fmla="*/ 642741 h 642741"/>
                <a:gd name="connsiteX4" fmla="*/ 0 w 1021996"/>
                <a:gd name="connsiteY4" fmla="*/ 0 h 6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996" h="642741">
                  <a:moveTo>
                    <a:pt x="0" y="0"/>
                  </a:moveTo>
                  <a:lnTo>
                    <a:pt x="133522" y="545466"/>
                  </a:lnTo>
                  <a:lnTo>
                    <a:pt x="1021996" y="464570"/>
                  </a:lnTo>
                  <a:lnTo>
                    <a:pt x="9524" y="6427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86" name="Straight Connector 85"/>
            <p:cNvCxnSpPr/>
            <p:nvPr userDrawn="1"/>
          </p:nvCxnSpPr>
          <p:spPr>
            <a:xfrm flipH="1" flipV="1">
              <a:off x="1238711" y="4842999"/>
              <a:ext cx="5284" cy="168699"/>
            </a:xfrm>
            <a:prstGeom prst="lin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</p:cxnSp>
        <p:sp>
          <p:nvSpPr>
            <p:cNvPr id="87" name="Rectangle 86"/>
            <p:cNvSpPr/>
            <p:nvPr userDrawn="1"/>
          </p:nvSpPr>
          <p:spPr>
            <a:xfrm>
              <a:off x="29385" y="4361552"/>
              <a:ext cx="1224136" cy="33636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Safety &amp; Vigilance</a:t>
              </a:r>
            </a:p>
          </p:txBody>
        </p:sp>
      </p:grpSp>
      <p:grpSp>
        <p:nvGrpSpPr>
          <p:cNvPr id="88" name="Group 87"/>
          <p:cNvGrpSpPr/>
          <p:nvPr userDrawn="1"/>
        </p:nvGrpSpPr>
        <p:grpSpPr>
          <a:xfrm>
            <a:off x="29384" y="4697913"/>
            <a:ext cx="1729229" cy="337402"/>
            <a:chOff x="29384" y="4697913"/>
            <a:chExt cx="1729229" cy="337402"/>
          </a:xfrm>
        </p:grpSpPr>
        <p:sp>
          <p:nvSpPr>
            <p:cNvPr id="89" name="Rectangle 79"/>
            <p:cNvSpPr/>
            <p:nvPr userDrawn="1"/>
          </p:nvSpPr>
          <p:spPr>
            <a:xfrm>
              <a:off x="1248758" y="4697913"/>
              <a:ext cx="509855" cy="337402"/>
            </a:xfrm>
            <a:custGeom>
              <a:avLst/>
              <a:gdLst>
                <a:gd name="connsiteX0" fmla="*/ 0 w 1224136"/>
                <a:gd name="connsiteY0" fmla="*/ 0 h 360040"/>
                <a:gd name="connsiteX1" fmla="*/ 1224136 w 1224136"/>
                <a:gd name="connsiteY1" fmla="*/ 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71611 w 1224136"/>
                <a:gd name="connsiteY1" fmla="*/ 17145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81136 w 1224136"/>
                <a:gd name="connsiteY1" fmla="*/ 238125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33190"/>
                <a:gd name="connsiteY0" fmla="*/ 0 h 360040"/>
                <a:gd name="connsiteX1" fmla="*/ 81136 w 1233190"/>
                <a:gd name="connsiteY1" fmla="*/ 238125 h 360040"/>
                <a:gd name="connsiteX2" fmla="*/ 1233190 w 1233190"/>
                <a:gd name="connsiteY2" fmla="*/ 274032 h 360040"/>
                <a:gd name="connsiteX3" fmla="*/ 0 w 1233190"/>
                <a:gd name="connsiteY3" fmla="*/ 360040 h 360040"/>
                <a:gd name="connsiteX4" fmla="*/ 0 w 1233190"/>
                <a:gd name="connsiteY4" fmla="*/ 0 h 360040"/>
                <a:gd name="connsiteX0" fmla="*/ 0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0 w 1029234"/>
                <a:gd name="connsiteY4" fmla="*/ 0 h 360040"/>
                <a:gd name="connsiteX0" fmla="*/ 9526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9526 w 1029234"/>
                <a:gd name="connsiteY4" fmla="*/ 0 h 360040"/>
                <a:gd name="connsiteX0" fmla="*/ 2 w 1019710"/>
                <a:gd name="connsiteY0" fmla="*/ 0 h 357499"/>
                <a:gd name="connsiteX1" fmla="*/ 71612 w 1019710"/>
                <a:gd name="connsiteY1" fmla="*/ 238125 h 357499"/>
                <a:gd name="connsiteX2" fmla="*/ 1019710 w 1019710"/>
                <a:gd name="connsiteY2" fmla="*/ 103157 h 357499"/>
                <a:gd name="connsiteX3" fmla="*/ 0 w 1019710"/>
                <a:gd name="connsiteY3" fmla="*/ 357499 h 357499"/>
                <a:gd name="connsiteX4" fmla="*/ 2 w 1019710"/>
                <a:gd name="connsiteY4" fmla="*/ 0 h 35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710" h="357499">
                  <a:moveTo>
                    <a:pt x="2" y="0"/>
                  </a:moveTo>
                  <a:lnTo>
                    <a:pt x="71612" y="238125"/>
                  </a:lnTo>
                  <a:lnTo>
                    <a:pt x="1019710" y="103157"/>
                  </a:lnTo>
                  <a:lnTo>
                    <a:pt x="0" y="357499"/>
                  </a:lnTo>
                  <a:cubicBezTo>
                    <a:pt x="1" y="238333"/>
                    <a:pt x="1" y="119166"/>
                    <a:pt x="2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0" name="Rectangle 89"/>
            <p:cNvSpPr/>
            <p:nvPr userDrawn="1"/>
          </p:nvSpPr>
          <p:spPr>
            <a:xfrm>
              <a:off x="29384" y="4697914"/>
              <a:ext cx="1224136" cy="33740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Market Access</a:t>
              </a:r>
            </a:p>
          </p:txBody>
        </p:sp>
      </p:grpSp>
      <p:sp>
        <p:nvSpPr>
          <p:cNvPr id="170" name="Rectangle 33"/>
          <p:cNvSpPr/>
          <p:nvPr userDrawn="1"/>
        </p:nvSpPr>
        <p:spPr>
          <a:xfrm>
            <a:off x="1" y="2557332"/>
            <a:ext cx="9143999" cy="2574710"/>
          </a:xfrm>
          <a:custGeom>
            <a:avLst/>
            <a:gdLst>
              <a:gd name="connsiteX0" fmla="*/ 0 w 9139395"/>
              <a:gd name="connsiteY0" fmla="*/ 0 h 2558962"/>
              <a:gd name="connsiteX1" fmla="*/ 9139395 w 9139395"/>
              <a:gd name="connsiteY1" fmla="*/ 0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0 h 2558962"/>
              <a:gd name="connsiteX1" fmla="*/ 1533249 w 9139395"/>
              <a:gd name="connsiteY1" fmla="*/ 2105891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43712 h 2602674"/>
              <a:gd name="connsiteX1" fmla="*/ 1450122 w 9139395"/>
              <a:gd name="connsiteY1" fmla="*/ 112563 h 2602674"/>
              <a:gd name="connsiteX2" fmla="*/ 1533249 w 9139395"/>
              <a:gd name="connsiteY2" fmla="*/ 2149603 h 2602674"/>
              <a:gd name="connsiteX3" fmla="*/ 9139395 w 9139395"/>
              <a:gd name="connsiteY3" fmla="*/ 2602674 h 2602674"/>
              <a:gd name="connsiteX4" fmla="*/ 0 w 9139395"/>
              <a:gd name="connsiteY4" fmla="*/ 2602674 h 2602674"/>
              <a:gd name="connsiteX5" fmla="*/ 0 w 9139395"/>
              <a:gd name="connsiteY5" fmla="*/ 43712 h 2602674"/>
              <a:gd name="connsiteX0" fmla="*/ 0 w 9139395"/>
              <a:gd name="connsiteY0" fmla="*/ 0 h 2558962"/>
              <a:gd name="connsiteX1" fmla="*/ 1450122 w 9139395"/>
              <a:gd name="connsiteY1" fmla="*/ 68851 h 2558962"/>
              <a:gd name="connsiteX2" fmla="*/ 1533249 w 9139395"/>
              <a:gd name="connsiteY2" fmla="*/ 2105891 h 2558962"/>
              <a:gd name="connsiteX3" fmla="*/ 9139395 w 9139395"/>
              <a:gd name="connsiteY3" fmla="*/ 2558962 h 2558962"/>
              <a:gd name="connsiteX4" fmla="*/ 0 w 9139395"/>
              <a:gd name="connsiteY4" fmla="*/ 2558962 h 2558962"/>
              <a:gd name="connsiteX5" fmla="*/ 0 w 9139395"/>
              <a:gd name="connsiteY5" fmla="*/ 0 h 2558962"/>
              <a:gd name="connsiteX0" fmla="*/ 0 w 9139395"/>
              <a:gd name="connsiteY0" fmla="*/ 21735 h 2580697"/>
              <a:gd name="connsiteX1" fmla="*/ 1450122 w 9139395"/>
              <a:gd name="connsiteY1" fmla="*/ 7459 h 2580697"/>
              <a:gd name="connsiteX2" fmla="*/ 1533249 w 9139395"/>
              <a:gd name="connsiteY2" fmla="*/ 2127626 h 2580697"/>
              <a:gd name="connsiteX3" fmla="*/ 9139395 w 9139395"/>
              <a:gd name="connsiteY3" fmla="*/ 2580697 h 2580697"/>
              <a:gd name="connsiteX4" fmla="*/ 0 w 9139395"/>
              <a:gd name="connsiteY4" fmla="*/ 2580697 h 2580697"/>
              <a:gd name="connsiteX5" fmla="*/ 0 w 9139395"/>
              <a:gd name="connsiteY5" fmla="*/ 21735 h 2580697"/>
              <a:gd name="connsiteX0" fmla="*/ 0 w 9139395"/>
              <a:gd name="connsiteY0" fmla="*/ 24561 h 2583523"/>
              <a:gd name="connsiteX1" fmla="*/ 1450122 w 9139395"/>
              <a:gd name="connsiteY1" fmla="*/ 10285 h 2583523"/>
              <a:gd name="connsiteX2" fmla="*/ 1533249 w 9139395"/>
              <a:gd name="connsiteY2" fmla="*/ 2130452 h 2583523"/>
              <a:gd name="connsiteX3" fmla="*/ 9139395 w 9139395"/>
              <a:gd name="connsiteY3" fmla="*/ 2583523 h 2583523"/>
              <a:gd name="connsiteX4" fmla="*/ 0 w 9139395"/>
              <a:gd name="connsiteY4" fmla="*/ 2583523 h 2583523"/>
              <a:gd name="connsiteX5" fmla="*/ 0 w 9139395"/>
              <a:gd name="connsiteY5" fmla="*/ 24561 h 2583523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195383 h 2754345"/>
              <a:gd name="connsiteX1" fmla="*/ 1450122 w 9139395"/>
              <a:gd name="connsiteY1" fmla="*/ 181107 h 2754345"/>
              <a:gd name="connsiteX2" fmla="*/ 1533249 w 9139395"/>
              <a:gd name="connsiteY2" fmla="*/ 2301274 h 2754345"/>
              <a:gd name="connsiteX3" fmla="*/ 9139395 w 9139395"/>
              <a:gd name="connsiteY3" fmla="*/ 2754345 h 2754345"/>
              <a:gd name="connsiteX4" fmla="*/ 0 w 9139395"/>
              <a:gd name="connsiteY4" fmla="*/ 2754345 h 2754345"/>
              <a:gd name="connsiteX5" fmla="*/ 0 w 9139395"/>
              <a:gd name="connsiteY5" fmla="*/ 195383 h 2754345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574710 h 2574710"/>
              <a:gd name="connsiteX4" fmla="*/ 0 w 9139395"/>
              <a:gd name="connsiteY4" fmla="*/ 2574710 h 2574710"/>
              <a:gd name="connsiteX5" fmla="*/ 0 w 9139395"/>
              <a:gd name="connsiteY5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39395" h="2574710">
                <a:moveTo>
                  <a:pt x="0" y="15748"/>
                </a:moveTo>
                <a:cubicBezTo>
                  <a:pt x="1447033" y="2512"/>
                  <a:pt x="-21615" y="-2859"/>
                  <a:pt x="1450122" y="1472"/>
                </a:cubicBezTo>
                <a:lnTo>
                  <a:pt x="1533249" y="2121639"/>
                </a:lnTo>
                <a:lnTo>
                  <a:pt x="9139395" y="2107363"/>
                </a:lnTo>
                <a:lnTo>
                  <a:pt x="9139395" y="2574710"/>
                </a:lnTo>
                <a:lnTo>
                  <a:pt x="0" y="2574710"/>
                </a:lnTo>
                <a:lnTo>
                  <a:pt x="0" y="15748"/>
                </a:lnTo>
                <a:close/>
              </a:path>
            </a:pathLst>
          </a:custGeom>
          <a:solidFill>
            <a:srgbClr val="FFFFFF">
              <a:alpha val="30196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7" name="Text Placeholder 210"/>
          <p:cNvSpPr>
            <a:spLocks noGrp="1"/>
          </p:cNvSpPr>
          <p:nvPr>
            <p:ph type="body" sz="quarter" idx="18" hasCustomPrompt="1"/>
          </p:nvPr>
        </p:nvSpPr>
        <p:spPr>
          <a:xfrm>
            <a:off x="5828053" y="1444100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38" name="Text Placeholder 210"/>
          <p:cNvSpPr>
            <a:spLocks noGrp="1"/>
          </p:cNvSpPr>
          <p:nvPr>
            <p:ph type="body" sz="quarter" idx="19" hasCustomPrompt="1"/>
          </p:nvPr>
        </p:nvSpPr>
        <p:spPr>
          <a:xfrm>
            <a:off x="5826022" y="3780050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39" name="Text Placeholder 210"/>
          <p:cNvSpPr>
            <a:spLocks noGrp="1"/>
          </p:cNvSpPr>
          <p:nvPr>
            <p:ph type="body" sz="quarter" idx="20" hasCustomPrompt="1"/>
          </p:nvPr>
        </p:nvSpPr>
        <p:spPr>
          <a:xfrm>
            <a:off x="4722223" y="3181441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40" name="Text Placeholder 210"/>
          <p:cNvSpPr>
            <a:spLocks noGrp="1"/>
          </p:cNvSpPr>
          <p:nvPr>
            <p:ph type="body" sz="quarter" idx="21" hasCustomPrompt="1"/>
          </p:nvPr>
        </p:nvSpPr>
        <p:spPr>
          <a:xfrm>
            <a:off x="6929821" y="3181441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639812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Freeform 5">
            <a:hlinkClick r:id="" action="ppaction://noaction"/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646136" y="2191200"/>
            <a:ext cx="1326586" cy="1112893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4" name="Freeform 6">
            <a:hlinkClick r:id="" action="ppaction://noaction"/>
          </p:cNvPr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6747348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7" name="Freeform 4">
            <a:hlinkClick r:id="" action="ppaction://noaction"/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547156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1" name="Text Placeholder 2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22077" y="2002363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3" name="Text Placeholder 21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931877" y="2011424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4" name="Text Placeholder 2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26977" y="2602916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ext</a:t>
            </a:r>
          </a:p>
        </p:txBody>
      </p:sp>
      <p:sp>
        <p:nvSpPr>
          <p:cNvPr id="55" name="Freeform 4">
            <a:hlinkClick r:id="" action="ppaction://noaction"/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550627" y="276988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56" name="Freeform 4">
            <a:hlinkClick r:id="" action="ppaction://noaction"/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760427" y="277369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57" name="Freeform 4">
            <a:hlinkClick r:id="" action="ppaction://noaction"/>
          </p:cNvPr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5641813" y="101728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9" name="Text Placeholder 21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872001" y="1017673"/>
            <a:ext cx="1944000" cy="3448050"/>
          </a:xfrm>
          <a:prstGeom prst="roundRect">
            <a:avLst>
              <a:gd name="adj" fmla="val 8804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0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5pPr marL="1828800" indent="0">
              <a:buNone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69" name="AutoShape 15"/>
          <p:cNvSpPr>
            <a:spLocks noChangeArrowheads="1"/>
          </p:cNvSpPr>
          <p:nvPr userDrawn="1"/>
        </p:nvSpPr>
        <p:spPr bwMode="gray">
          <a:xfrm>
            <a:off x="1450536" y="4790804"/>
            <a:ext cx="1568573" cy="283857"/>
          </a:xfrm>
          <a:prstGeom prst="homePlate">
            <a:avLst>
              <a:gd name="adj" fmla="val 30359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Pre-Clinical</a:t>
            </a:r>
          </a:p>
        </p:txBody>
      </p:sp>
      <p:sp>
        <p:nvSpPr>
          <p:cNvPr id="70" name="AutoShape 16"/>
          <p:cNvSpPr>
            <a:spLocks noChangeArrowheads="1"/>
          </p:cNvSpPr>
          <p:nvPr userDrawn="1"/>
        </p:nvSpPr>
        <p:spPr bwMode="gray">
          <a:xfrm>
            <a:off x="2894108" y="4790804"/>
            <a:ext cx="1568900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Early Clinical Dev.</a:t>
            </a:r>
          </a:p>
        </p:txBody>
      </p:sp>
      <p:sp>
        <p:nvSpPr>
          <p:cNvPr id="71" name="AutoShape 16"/>
          <p:cNvSpPr>
            <a:spLocks noChangeArrowheads="1"/>
          </p:cNvSpPr>
          <p:nvPr userDrawn="1"/>
        </p:nvSpPr>
        <p:spPr bwMode="gray">
          <a:xfrm>
            <a:off x="4337680" y="4790804"/>
            <a:ext cx="1546032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Late Clinical Dev.</a:t>
            </a:r>
          </a:p>
        </p:txBody>
      </p:sp>
      <p:sp>
        <p:nvSpPr>
          <p:cNvPr id="72" name="AutoShape 16"/>
          <p:cNvSpPr>
            <a:spLocks noChangeArrowheads="1"/>
          </p:cNvSpPr>
          <p:nvPr userDrawn="1"/>
        </p:nvSpPr>
        <p:spPr bwMode="gray">
          <a:xfrm>
            <a:off x="5781253" y="4790804"/>
            <a:ext cx="1546359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Registration</a:t>
            </a:r>
          </a:p>
        </p:txBody>
      </p:sp>
      <p:sp>
        <p:nvSpPr>
          <p:cNvPr id="73" name="AutoShape 16"/>
          <p:cNvSpPr>
            <a:spLocks noChangeArrowheads="1"/>
          </p:cNvSpPr>
          <p:nvPr userDrawn="1"/>
        </p:nvSpPr>
        <p:spPr bwMode="gray">
          <a:xfrm>
            <a:off x="7224824" y="4790804"/>
            <a:ext cx="1836627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Launch &amp; Life Cyc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 flipH="1" flipV="1">
            <a:off x="1519964" y="4790804"/>
            <a:ext cx="7463184" cy="26497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</a:ln>
          <a:effectLst/>
        </p:spPr>
      </p:cxnSp>
      <p:grpSp>
        <p:nvGrpSpPr>
          <p:cNvPr id="75" name="Group 74"/>
          <p:cNvGrpSpPr/>
          <p:nvPr userDrawn="1"/>
        </p:nvGrpSpPr>
        <p:grpSpPr>
          <a:xfrm>
            <a:off x="29384" y="3349110"/>
            <a:ext cx="1723122" cy="1610005"/>
            <a:chOff x="29384" y="3349110"/>
            <a:chExt cx="1723122" cy="1610005"/>
          </a:xfrm>
        </p:grpSpPr>
        <p:sp>
          <p:nvSpPr>
            <p:cNvPr id="76" name="Rectangle 81"/>
            <p:cNvSpPr/>
            <p:nvPr userDrawn="1"/>
          </p:nvSpPr>
          <p:spPr>
            <a:xfrm>
              <a:off x="1243044" y="3352469"/>
              <a:ext cx="509462" cy="1606646"/>
            </a:xfrm>
            <a:custGeom>
              <a:avLst/>
              <a:gdLst>
                <a:gd name="connsiteX0" fmla="*/ 0 w 1224136"/>
                <a:gd name="connsiteY0" fmla="*/ 0 h 2159132"/>
                <a:gd name="connsiteX1" fmla="*/ 1224136 w 1224136"/>
                <a:gd name="connsiteY1" fmla="*/ 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528811 w 1224136"/>
                <a:gd name="connsiteY1" fmla="*/ 1281112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319261 w 1224136"/>
                <a:gd name="connsiteY1" fmla="*/ 194310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200025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1985963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33561 w 1224136"/>
                <a:gd name="connsiteY1" fmla="*/ 1857375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12262"/>
                <a:gd name="connsiteY0" fmla="*/ 0 h 2159132"/>
                <a:gd name="connsiteX1" fmla="*/ 433561 w 1212262"/>
                <a:gd name="connsiteY1" fmla="*/ 1857375 h 2159132"/>
                <a:gd name="connsiteX2" fmla="*/ 1212262 w 1212262"/>
                <a:gd name="connsiteY2" fmla="*/ 2058192 h 2159132"/>
                <a:gd name="connsiteX3" fmla="*/ 0 w 1212262"/>
                <a:gd name="connsiteY3" fmla="*/ 2159132 h 2159132"/>
                <a:gd name="connsiteX4" fmla="*/ 0 w 1212262"/>
                <a:gd name="connsiteY4" fmla="*/ 0 h 2159132"/>
                <a:gd name="connsiteX0" fmla="*/ 0 w 1230370"/>
                <a:gd name="connsiteY0" fmla="*/ 0 h 2159132"/>
                <a:gd name="connsiteX1" fmla="*/ 433561 w 1230370"/>
                <a:gd name="connsiteY1" fmla="*/ 1857375 h 2159132"/>
                <a:gd name="connsiteX2" fmla="*/ 1230370 w 1230370"/>
                <a:gd name="connsiteY2" fmla="*/ 2071772 h 2159132"/>
                <a:gd name="connsiteX3" fmla="*/ 0 w 1230370"/>
                <a:gd name="connsiteY3" fmla="*/ 2159132 h 2159132"/>
                <a:gd name="connsiteX4" fmla="*/ 0 w 1230370"/>
                <a:gd name="connsiteY4" fmla="*/ 0 h 2159132"/>
                <a:gd name="connsiteX0" fmla="*/ 0 w 1033212"/>
                <a:gd name="connsiteY0" fmla="*/ 0 h 2159132"/>
                <a:gd name="connsiteX1" fmla="*/ 433561 w 1033212"/>
                <a:gd name="connsiteY1" fmla="*/ 1857375 h 2159132"/>
                <a:gd name="connsiteX2" fmla="*/ 1033212 w 1033212"/>
                <a:gd name="connsiteY2" fmla="*/ 1900897 h 2159132"/>
                <a:gd name="connsiteX3" fmla="*/ 0 w 1033212"/>
                <a:gd name="connsiteY3" fmla="*/ 2159132 h 2159132"/>
                <a:gd name="connsiteX4" fmla="*/ 0 w 1033212"/>
                <a:gd name="connsiteY4" fmla="*/ 0 h 2159132"/>
                <a:gd name="connsiteX0" fmla="*/ 0 w 1042736"/>
                <a:gd name="connsiteY0" fmla="*/ 0 h 1795764"/>
                <a:gd name="connsiteX1" fmla="*/ 443085 w 1042736"/>
                <a:gd name="connsiteY1" fmla="*/ 1494007 h 1795764"/>
                <a:gd name="connsiteX2" fmla="*/ 1042736 w 1042736"/>
                <a:gd name="connsiteY2" fmla="*/ 1537529 h 1795764"/>
                <a:gd name="connsiteX3" fmla="*/ 9524 w 1042736"/>
                <a:gd name="connsiteY3" fmla="*/ 1795764 h 1795764"/>
                <a:gd name="connsiteX4" fmla="*/ 0 w 1042736"/>
                <a:gd name="connsiteY4" fmla="*/ 0 h 1795764"/>
                <a:gd name="connsiteX0" fmla="*/ 14624 w 1033546"/>
                <a:gd name="connsiteY0" fmla="*/ 0 h 1795764"/>
                <a:gd name="connsiteX1" fmla="*/ 433895 w 1033546"/>
                <a:gd name="connsiteY1" fmla="*/ 1494007 h 1795764"/>
                <a:gd name="connsiteX2" fmla="*/ 1033546 w 1033546"/>
                <a:gd name="connsiteY2" fmla="*/ 1537529 h 1795764"/>
                <a:gd name="connsiteX3" fmla="*/ 334 w 1033546"/>
                <a:gd name="connsiteY3" fmla="*/ 1795764 h 1795764"/>
                <a:gd name="connsiteX4" fmla="*/ 14624 w 1033546"/>
                <a:gd name="connsiteY4" fmla="*/ 0 h 1795764"/>
                <a:gd name="connsiteX0" fmla="*/ 0 w 1018922"/>
                <a:gd name="connsiteY0" fmla="*/ 0 h 1795764"/>
                <a:gd name="connsiteX1" fmla="*/ 419271 w 1018922"/>
                <a:gd name="connsiteY1" fmla="*/ 1494007 h 1795764"/>
                <a:gd name="connsiteX2" fmla="*/ 1018922 w 1018922"/>
                <a:gd name="connsiteY2" fmla="*/ 1537529 h 1795764"/>
                <a:gd name="connsiteX3" fmla="*/ 4760 w 1018922"/>
                <a:gd name="connsiteY3" fmla="*/ 1795764 h 1795764"/>
                <a:gd name="connsiteX4" fmla="*/ 0 w 1018922"/>
                <a:gd name="connsiteY4" fmla="*/ 0 h 1795764"/>
                <a:gd name="connsiteX0" fmla="*/ 0 w 1018922"/>
                <a:gd name="connsiteY0" fmla="*/ 0 h 1714451"/>
                <a:gd name="connsiteX1" fmla="*/ 419271 w 1018922"/>
                <a:gd name="connsiteY1" fmla="*/ 1494007 h 1714451"/>
                <a:gd name="connsiteX2" fmla="*/ 1018922 w 1018922"/>
                <a:gd name="connsiteY2" fmla="*/ 1537529 h 1714451"/>
                <a:gd name="connsiteX3" fmla="*/ 9522 w 1018922"/>
                <a:gd name="connsiteY3" fmla="*/ 1714451 h 1714451"/>
                <a:gd name="connsiteX4" fmla="*/ 0 w 1018922"/>
                <a:gd name="connsiteY4" fmla="*/ 0 h 171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922" h="1714451">
                  <a:moveTo>
                    <a:pt x="0" y="0"/>
                  </a:moveTo>
                  <a:lnTo>
                    <a:pt x="419271" y="1494007"/>
                  </a:lnTo>
                  <a:lnTo>
                    <a:pt x="1018922" y="1537529"/>
                  </a:lnTo>
                  <a:lnTo>
                    <a:pt x="9522" y="1714451"/>
                  </a:lnTo>
                  <a:cubicBezTo>
                    <a:pt x="6347" y="1115863"/>
                    <a:pt x="3175" y="598588"/>
                    <a:pt x="0" y="0"/>
                  </a:cubicBezTo>
                  <a:close/>
                </a:path>
              </a:pathLst>
            </a:custGeom>
            <a:solidFill>
              <a:srgbClr val="000346"/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9384" y="3349110"/>
              <a:ext cx="1224136" cy="337401"/>
            </a:xfrm>
            <a:prstGeom prst="rect">
              <a:avLst/>
            </a:prstGeom>
            <a:solidFill>
              <a:srgbClr val="000346"/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Regulatory</a:t>
              </a:r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29384" y="3686511"/>
            <a:ext cx="1722901" cy="1230421"/>
            <a:chOff x="29384" y="3686511"/>
            <a:chExt cx="1722901" cy="1230421"/>
          </a:xfrm>
        </p:grpSpPr>
        <p:sp>
          <p:nvSpPr>
            <p:cNvPr id="79" name="Rectangle 72"/>
            <p:cNvSpPr/>
            <p:nvPr userDrawn="1"/>
          </p:nvSpPr>
          <p:spPr>
            <a:xfrm>
              <a:off x="1242649" y="3686856"/>
              <a:ext cx="509636" cy="1230076"/>
            </a:xfrm>
            <a:custGeom>
              <a:avLst/>
              <a:gdLst>
                <a:gd name="connsiteX0" fmla="*/ 0 w 1224136"/>
                <a:gd name="connsiteY0" fmla="*/ 0 h 1799092"/>
                <a:gd name="connsiteX1" fmla="*/ 1224136 w 1224136"/>
                <a:gd name="connsiteY1" fmla="*/ 0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57361 w 1224136"/>
                <a:gd name="connsiteY1" fmla="*/ 1609725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62124 w 1224136"/>
                <a:gd name="connsiteY1" fmla="*/ 1519238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15084"/>
                <a:gd name="connsiteY0" fmla="*/ 0 h 1799092"/>
                <a:gd name="connsiteX1" fmla="*/ 362124 w 1215084"/>
                <a:gd name="connsiteY1" fmla="*/ 1519238 h 1799092"/>
                <a:gd name="connsiteX2" fmla="*/ 1215084 w 1215084"/>
                <a:gd name="connsiteY2" fmla="*/ 1708557 h 1799092"/>
                <a:gd name="connsiteX3" fmla="*/ 0 w 1215084"/>
                <a:gd name="connsiteY3" fmla="*/ 1799092 h 1799092"/>
                <a:gd name="connsiteX4" fmla="*/ 0 w 1215084"/>
                <a:gd name="connsiteY4" fmla="*/ 0 h 1799092"/>
                <a:gd name="connsiteX0" fmla="*/ 0 w 1038322"/>
                <a:gd name="connsiteY0" fmla="*/ 0 h 1799092"/>
                <a:gd name="connsiteX1" fmla="*/ 362124 w 1038322"/>
                <a:gd name="connsiteY1" fmla="*/ 1519238 h 1799092"/>
                <a:gd name="connsiteX2" fmla="*/ 1038322 w 1038322"/>
                <a:gd name="connsiteY2" fmla="*/ 1546675 h 1799092"/>
                <a:gd name="connsiteX3" fmla="*/ 0 w 1038322"/>
                <a:gd name="connsiteY3" fmla="*/ 1799092 h 1799092"/>
                <a:gd name="connsiteX4" fmla="*/ 0 w 1038322"/>
                <a:gd name="connsiteY4" fmla="*/ 0 h 1799092"/>
                <a:gd name="connsiteX0" fmla="*/ 14286 w 1038322"/>
                <a:gd name="connsiteY0" fmla="*/ 0 h 1773325"/>
                <a:gd name="connsiteX1" fmla="*/ 362124 w 1038322"/>
                <a:gd name="connsiteY1" fmla="*/ 1493471 h 1773325"/>
                <a:gd name="connsiteX2" fmla="*/ 1038322 w 1038322"/>
                <a:gd name="connsiteY2" fmla="*/ 1520908 h 1773325"/>
                <a:gd name="connsiteX3" fmla="*/ 0 w 1038322"/>
                <a:gd name="connsiteY3" fmla="*/ 1773325 h 1773325"/>
                <a:gd name="connsiteX4" fmla="*/ 14286 w 1038322"/>
                <a:gd name="connsiteY4" fmla="*/ 0 h 1773325"/>
                <a:gd name="connsiteX0" fmla="*/ 4762 w 1028798"/>
                <a:gd name="connsiteY0" fmla="*/ 0 h 1663815"/>
                <a:gd name="connsiteX1" fmla="*/ 352600 w 1028798"/>
                <a:gd name="connsiteY1" fmla="*/ 1493471 h 1663815"/>
                <a:gd name="connsiteX2" fmla="*/ 1028798 w 1028798"/>
                <a:gd name="connsiteY2" fmla="*/ 1520908 h 1663815"/>
                <a:gd name="connsiteX3" fmla="*/ 0 w 1028798"/>
                <a:gd name="connsiteY3" fmla="*/ 1663815 h 1663815"/>
                <a:gd name="connsiteX4" fmla="*/ 4762 w 1028798"/>
                <a:gd name="connsiteY4" fmla="*/ 0 h 1663815"/>
                <a:gd name="connsiteX0" fmla="*/ 4762 w 1019272"/>
                <a:gd name="connsiteY0" fmla="*/ 0 h 1663815"/>
                <a:gd name="connsiteX1" fmla="*/ 352600 w 1019272"/>
                <a:gd name="connsiteY1" fmla="*/ 1493471 h 1663815"/>
                <a:gd name="connsiteX2" fmla="*/ 1019272 w 1019272"/>
                <a:gd name="connsiteY2" fmla="*/ 1495140 h 1663815"/>
                <a:gd name="connsiteX3" fmla="*/ 0 w 1019272"/>
                <a:gd name="connsiteY3" fmla="*/ 1663815 h 1663815"/>
                <a:gd name="connsiteX4" fmla="*/ 4762 w 1019272"/>
                <a:gd name="connsiteY4" fmla="*/ 0 h 166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272" h="1663815">
                  <a:moveTo>
                    <a:pt x="4762" y="0"/>
                  </a:moveTo>
                  <a:lnTo>
                    <a:pt x="352600" y="1493471"/>
                  </a:lnTo>
                  <a:lnTo>
                    <a:pt x="1019272" y="1495140"/>
                  </a:lnTo>
                  <a:lnTo>
                    <a:pt x="0" y="1663815"/>
                  </a:lnTo>
                  <a:cubicBezTo>
                    <a:pt x="1587" y="1109210"/>
                    <a:pt x="3175" y="554605"/>
                    <a:pt x="4762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29384" y="3686511"/>
              <a:ext cx="1224136" cy="33740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MC &amp; Quality</a:t>
              </a:r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29384" y="4024151"/>
            <a:ext cx="1731500" cy="923057"/>
            <a:chOff x="29384" y="4024151"/>
            <a:chExt cx="1731500" cy="923057"/>
          </a:xfrm>
        </p:grpSpPr>
        <p:sp>
          <p:nvSpPr>
            <p:cNvPr id="82" name="Rectangle 74"/>
            <p:cNvSpPr/>
            <p:nvPr userDrawn="1"/>
          </p:nvSpPr>
          <p:spPr>
            <a:xfrm>
              <a:off x="1251139" y="4026532"/>
              <a:ext cx="509745" cy="920676"/>
            </a:xfrm>
            <a:custGeom>
              <a:avLst/>
              <a:gdLst>
                <a:gd name="connsiteX0" fmla="*/ 0 w 1224136"/>
                <a:gd name="connsiteY0" fmla="*/ 0 h 1079012"/>
                <a:gd name="connsiteX1" fmla="*/ 1224136 w 1224136"/>
                <a:gd name="connsiteY1" fmla="*/ 0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90588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979424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033778"/>
                <a:gd name="connsiteY0" fmla="*/ 0 h 1079012"/>
                <a:gd name="connsiteX1" fmla="*/ 214486 w 1033778"/>
                <a:gd name="connsiteY1" fmla="*/ 866776 h 1079012"/>
                <a:gd name="connsiteX2" fmla="*/ 1033778 w 1033778"/>
                <a:gd name="connsiteY2" fmla="*/ 817544 h 1079012"/>
                <a:gd name="connsiteX3" fmla="*/ 0 w 1033778"/>
                <a:gd name="connsiteY3" fmla="*/ 1079012 h 1079012"/>
                <a:gd name="connsiteX4" fmla="*/ 0 w 1033778"/>
                <a:gd name="connsiteY4" fmla="*/ 0 h 1079012"/>
                <a:gd name="connsiteX0" fmla="*/ 14288 w 1033778"/>
                <a:gd name="connsiteY0" fmla="*/ 0 h 1076471"/>
                <a:gd name="connsiteX1" fmla="*/ 214486 w 1033778"/>
                <a:gd name="connsiteY1" fmla="*/ 864235 h 1076471"/>
                <a:gd name="connsiteX2" fmla="*/ 1033778 w 1033778"/>
                <a:gd name="connsiteY2" fmla="*/ 815003 h 1076471"/>
                <a:gd name="connsiteX3" fmla="*/ 0 w 1033778"/>
                <a:gd name="connsiteY3" fmla="*/ 1076471 h 1076471"/>
                <a:gd name="connsiteX4" fmla="*/ 14288 w 1033778"/>
                <a:gd name="connsiteY4" fmla="*/ 0 h 1076471"/>
                <a:gd name="connsiteX0" fmla="*/ 0 w 1019490"/>
                <a:gd name="connsiteY0" fmla="*/ 0 h 982452"/>
                <a:gd name="connsiteX1" fmla="*/ 200198 w 1019490"/>
                <a:gd name="connsiteY1" fmla="*/ 864235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  <a:gd name="connsiteX0" fmla="*/ 0 w 1019490"/>
                <a:gd name="connsiteY0" fmla="*/ 0 h 982452"/>
                <a:gd name="connsiteX1" fmla="*/ 219248 w 1019490"/>
                <a:gd name="connsiteY1" fmla="*/ 854070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490" h="982452">
                  <a:moveTo>
                    <a:pt x="0" y="0"/>
                  </a:moveTo>
                  <a:lnTo>
                    <a:pt x="219248" y="854070"/>
                  </a:lnTo>
                  <a:lnTo>
                    <a:pt x="1019490" y="815003"/>
                  </a:lnTo>
                  <a:lnTo>
                    <a:pt x="9524" y="982452"/>
                  </a:lnTo>
                  <a:cubicBezTo>
                    <a:pt x="6349" y="654968"/>
                    <a:pt x="3175" y="32748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Rectangle 82"/>
            <p:cNvSpPr/>
            <p:nvPr userDrawn="1"/>
          </p:nvSpPr>
          <p:spPr>
            <a:xfrm>
              <a:off x="29384" y="4024151"/>
              <a:ext cx="1224136" cy="33740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linical trial management</a:t>
              </a:r>
            </a:p>
          </p:txBody>
        </p:sp>
      </p:grpSp>
      <p:grpSp>
        <p:nvGrpSpPr>
          <p:cNvPr id="84" name="Group 83"/>
          <p:cNvGrpSpPr/>
          <p:nvPr userDrawn="1"/>
        </p:nvGrpSpPr>
        <p:grpSpPr>
          <a:xfrm>
            <a:off x="29385" y="4359169"/>
            <a:ext cx="1722877" cy="652529"/>
            <a:chOff x="29385" y="4359169"/>
            <a:chExt cx="1722877" cy="652529"/>
          </a:xfrm>
        </p:grpSpPr>
        <p:sp>
          <p:nvSpPr>
            <p:cNvPr id="85" name="Rectangle 76"/>
            <p:cNvSpPr/>
            <p:nvPr userDrawn="1"/>
          </p:nvSpPr>
          <p:spPr>
            <a:xfrm>
              <a:off x="1241265" y="4359169"/>
              <a:ext cx="510997" cy="602325"/>
            </a:xfrm>
            <a:custGeom>
              <a:avLst/>
              <a:gdLst>
                <a:gd name="connsiteX0" fmla="*/ 0 w 1224136"/>
                <a:gd name="connsiteY0" fmla="*/ 0 h 718972"/>
                <a:gd name="connsiteX1" fmla="*/ 1224136 w 1224136"/>
                <a:gd name="connsiteY1" fmla="*/ 0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24136"/>
                <a:gd name="connsiteY0" fmla="*/ 0 h 718972"/>
                <a:gd name="connsiteX1" fmla="*/ 143048 w 1224136"/>
                <a:gd name="connsiteY1" fmla="*/ 542925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15082"/>
                <a:gd name="connsiteY0" fmla="*/ 0 h 718972"/>
                <a:gd name="connsiteX1" fmla="*/ 143048 w 1215082"/>
                <a:gd name="connsiteY1" fmla="*/ 542925 h 718972"/>
                <a:gd name="connsiteX2" fmla="*/ 1215082 w 1215082"/>
                <a:gd name="connsiteY2" fmla="*/ 623910 h 718972"/>
                <a:gd name="connsiteX3" fmla="*/ 0 w 1215082"/>
                <a:gd name="connsiteY3" fmla="*/ 718972 h 718972"/>
                <a:gd name="connsiteX4" fmla="*/ 0 w 1215082"/>
                <a:gd name="connsiteY4" fmla="*/ 0 h 718972"/>
                <a:gd name="connsiteX0" fmla="*/ 0 w 1031522"/>
                <a:gd name="connsiteY0" fmla="*/ 0 h 718972"/>
                <a:gd name="connsiteX1" fmla="*/ 143048 w 1031522"/>
                <a:gd name="connsiteY1" fmla="*/ 542925 h 718972"/>
                <a:gd name="connsiteX2" fmla="*/ 1031522 w 1031522"/>
                <a:gd name="connsiteY2" fmla="*/ 462029 h 718972"/>
                <a:gd name="connsiteX3" fmla="*/ 0 w 1031522"/>
                <a:gd name="connsiteY3" fmla="*/ 718972 h 718972"/>
                <a:gd name="connsiteX4" fmla="*/ 0 w 1031522"/>
                <a:gd name="connsiteY4" fmla="*/ 0 h 718972"/>
                <a:gd name="connsiteX0" fmla="*/ 9526 w 1031522"/>
                <a:gd name="connsiteY0" fmla="*/ 0 h 716430"/>
                <a:gd name="connsiteX1" fmla="*/ 143048 w 1031522"/>
                <a:gd name="connsiteY1" fmla="*/ 540383 h 716430"/>
                <a:gd name="connsiteX2" fmla="*/ 1031522 w 1031522"/>
                <a:gd name="connsiteY2" fmla="*/ 459487 h 716430"/>
                <a:gd name="connsiteX3" fmla="*/ 0 w 1031522"/>
                <a:gd name="connsiteY3" fmla="*/ 716430 h 716430"/>
                <a:gd name="connsiteX4" fmla="*/ 9526 w 1031522"/>
                <a:gd name="connsiteY4" fmla="*/ 0 h 716430"/>
                <a:gd name="connsiteX0" fmla="*/ 0 w 1021996"/>
                <a:gd name="connsiteY0" fmla="*/ 0 h 637658"/>
                <a:gd name="connsiteX1" fmla="*/ 133522 w 1021996"/>
                <a:gd name="connsiteY1" fmla="*/ 540383 h 637658"/>
                <a:gd name="connsiteX2" fmla="*/ 1021996 w 1021996"/>
                <a:gd name="connsiteY2" fmla="*/ 459487 h 637658"/>
                <a:gd name="connsiteX3" fmla="*/ 9524 w 1021996"/>
                <a:gd name="connsiteY3" fmla="*/ 637658 h 637658"/>
                <a:gd name="connsiteX4" fmla="*/ 0 w 1021996"/>
                <a:gd name="connsiteY4" fmla="*/ 0 h 637658"/>
                <a:gd name="connsiteX0" fmla="*/ 0 w 1021996"/>
                <a:gd name="connsiteY0" fmla="*/ 0 h 642741"/>
                <a:gd name="connsiteX1" fmla="*/ 133522 w 1021996"/>
                <a:gd name="connsiteY1" fmla="*/ 545466 h 642741"/>
                <a:gd name="connsiteX2" fmla="*/ 1021996 w 1021996"/>
                <a:gd name="connsiteY2" fmla="*/ 464570 h 642741"/>
                <a:gd name="connsiteX3" fmla="*/ 9524 w 1021996"/>
                <a:gd name="connsiteY3" fmla="*/ 642741 h 642741"/>
                <a:gd name="connsiteX4" fmla="*/ 0 w 1021996"/>
                <a:gd name="connsiteY4" fmla="*/ 0 h 6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996" h="642741">
                  <a:moveTo>
                    <a:pt x="0" y="0"/>
                  </a:moveTo>
                  <a:lnTo>
                    <a:pt x="133522" y="545466"/>
                  </a:lnTo>
                  <a:lnTo>
                    <a:pt x="1021996" y="464570"/>
                  </a:lnTo>
                  <a:lnTo>
                    <a:pt x="9524" y="6427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86" name="Straight Connector 85"/>
            <p:cNvCxnSpPr/>
            <p:nvPr userDrawn="1"/>
          </p:nvCxnSpPr>
          <p:spPr>
            <a:xfrm flipH="1" flipV="1">
              <a:off x="1238711" y="4842999"/>
              <a:ext cx="5284" cy="168699"/>
            </a:xfrm>
            <a:prstGeom prst="lin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</p:cxnSp>
        <p:sp>
          <p:nvSpPr>
            <p:cNvPr id="87" name="Rectangle 86"/>
            <p:cNvSpPr/>
            <p:nvPr userDrawn="1"/>
          </p:nvSpPr>
          <p:spPr>
            <a:xfrm>
              <a:off x="29385" y="4361552"/>
              <a:ext cx="1224136" cy="33636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Safety &amp; Vigilance</a:t>
              </a:r>
            </a:p>
          </p:txBody>
        </p:sp>
      </p:grpSp>
      <p:grpSp>
        <p:nvGrpSpPr>
          <p:cNvPr id="88" name="Group 87"/>
          <p:cNvGrpSpPr/>
          <p:nvPr userDrawn="1"/>
        </p:nvGrpSpPr>
        <p:grpSpPr>
          <a:xfrm>
            <a:off x="29384" y="4697913"/>
            <a:ext cx="1729229" cy="337402"/>
            <a:chOff x="29384" y="4697913"/>
            <a:chExt cx="1729229" cy="337402"/>
          </a:xfrm>
        </p:grpSpPr>
        <p:sp>
          <p:nvSpPr>
            <p:cNvPr id="89" name="Rectangle 79"/>
            <p:cNvSpPr/>
            <p:nvPr userDrawn="1"/>
          </p:nvSpPr>
          <p:spPr>
            <a:xfrm>
              <a:off x="1248758" y="4697913"/>
              <a:ext cx="509855" cy="337402"/>
            </a:xfrm>
            <a:custGeom>
              <a:avLst/>
              <a:gdLst>
                <a:gd name="connsiteX0" fmla="*/ 0 w 1224136"/>
                <a:gd name="connsiteY0" fmla="*/ 0 h 360040"/>
                <a:gd name="connsiteX1" fmla="*/ 1224136 w 1224136"/>
                <a:gd name="connsiteY1" fmla="*/ 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71611 w 1224136"/>
                <a:gd name="connsiteY1" fmla="*/ 17145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81136 w 1224136"/>
                <a:gd name="connsiteY1" fmla="*/ 238125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33190"/>
                <a:gd name="connsiteY0" fmla="*/ 0 h 360040"/>
                <a:gd name="connsiteX1" fmla="*/ 81136 w 1233190"/>
                <a:gd name="connsiteY1" fmla="*/ 238125 h 360040"/>
                <a:gd name="connsiteX2" fmla="*/ 1233190 w 1233190"/>
                <a:gd name="connsiteY2" fmla="*/ 274032 h 360040"/>
                <a:gd name="connsiteX3" fmla="*/ 0 w 1233190"/>
                <a:gd name="connsiteY3" fmla="*/ 360040 h 360040"/>
                <a:gd name="connsiteX4" fmla="*/ 0 w 1233190"/>
                <a:gd name="connsiteY4" fmla="*/ 0 h 360040"/>
                <a:gd name="connsiteX0" fmla="*/ 0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0 w 1029234"/>
                <a:gd name="connsiteY4" fmla="*/ 0 h 360040"/>
                <a:gd name="connsiteX0" fmla="*/ 9526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9526 w 1029234"/>
                <a:gd name="connsiteY4" fmla="*/ 0 h 360040"/>
                <a:gd name="connsiteX0" fmla="*/ 2 w 1019710"/>
                <a:gd name="connsiteY0" fmla="*/ 0 h 357499"/>
                <a:gd name="connsiteX1" fmla="*/ 71612 w 1019710"/>
                <a:gd name="connsiteY1" fmla="*/ 238125 h 357499"/>
                <a:gd name="connsiteX2" fmla="*/ 1019710 w 1019710"/>
                <a:gd name="connsiteY2" fmla="*/ 103157 h 357499"/>
                <a:gd name="connsiteX3" fmla="*/ 0 w 1019710"/>
                <a:gd name="connsiteY3" fmla="*/ 357499 h 357499"/>
                <a:gd name="connsiteX4" fmla="*/ 2 w 1019710"/>
                <a:gd name="connsiteY4" fmla="*/ 0 h 35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710" h="357499">
                  <a:moveTo>
                    <a:pt x="2" y="0"/>
                  </a:moveTo>
                  <a:lnTo>
                    <a:pt x="71612" y="238125"/>
                  </a:lnTo>
                  <a:lnTo>
                    <a:pt x="1019710" y="103157"/>
                  </a:lnTo>
                  <a:lnTo>
                    <a:pt x="0" y="357499"/>
                  </a:lnTo>
                  <a:cubicBezTo>
                    <a:pt x="1" y="238333"/>
                    <a:pt x="1" y="119166"/>
                    <a:pt x="2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0" name="Rectangle 89"/>
            <p:cNvSpPr/>
            <p:nvPr userDrawn="1"/>
          </p:nvSpPr>
          <p:spPr>
            <a:xfrm>
              <a:off x="29384" y="4697914"/>
              <a:ext cx="1224136" cy="33740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Market Access</a:t>
              </a:r>
            </a:p>
          </p:txBody>
        </p:sp>
      </p:grpSp>
      <p:sp>
        <p:nvSpPr>
          <p:cNvPr id="170" name="Rectangle 33"/>
          <p:cNvSpPr/>
          <p:nvPr userDrawn="1"/>
        </p:nvSpPr>
        <p:spPr>
          <a:xfrm>
            <a:off x="1" y="2557332"/>
            <a:ext cx="9143999" cy="2574710"/>
          </a:xfrm>
          <a:custGeom>
            <a:avLst/>
            <a:gdLst>
              <a:gd name="connsiteX0" fmla="*/ 0 w 9139395"/>
              <a:gd name="connsiteY0" fmla="*/ 0 h 2558962"/>
              <a:gd name="connsiteX1" fmla="*/ 9139395 w 9139395"/>
              <a:gd name="connsiteY1" fmla="*/ 0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0 h 2558962"/>
              <a:gd name="connsiteX1" fmla="*/ 1533249 w 9139395"/>
              <a:gd name="connsiteY1" fmla="*/ 2105891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43712 h 2602674"/>
              <a:gd name="connsiteX1" fmla="*/ 1450122 w 9139395"/>
              <a:gd name="connsiteY1" fmla="*/ 112563 h 2602674"/>
              <a:gd name="connsiteX2" fmla="*/ 1533249 w 9139395"/>
              <a:gd name="connsiteY2" fmla="*/ 2149603 h 2602674"/>
              <a:gd name="connsiteX3" fmla="*/ 9139395 w 9139395"/>
              <a:gd name="connsiteY3" fmla="*/ 2602674 h 2602674"/>
              <a:gd name="connsiteX4" fmla="*/ 0 w 9139395"/>
              <a:gd name="connsiteY4" fmla="*/ 2602674 h 2602674"/>
              <a:gd name="connsiteX5" fmla="*/ 0 w 9139395"/>
              <a:gd name="connsiteY5" fmla="*/ 43712 h 2602674"/>
              <a:gd name="connsiteX0" fmla="*/ 0 w 9139395"/>
              <a:gd name="connsiteY0" fmla="*/ 0 h 2558962"/>
              <a:gd name="connsiteX1" fmla="*/ 1450122 w 9139395"/>
              <a:gd name="connsiteY1" fmla="*/ 68851 h 2558962"/>
              <a:gd name="connsiteX2" fmla="*/ 1533249 w 9139395"/>
              <a:gd name="connsiteY2" fmla="*/ 2105891 h 2558962"/>
              <a:gd name="connsiteX3" fmla="*/ 9139395 w 9139395"/>
              <a:gd name="connsiteY3" fmla="*/ 2558962 h 2558962"/>
              <a:gd name="connsiteX4" fmla="*/ 0 w 9139395"/>
              <a:gd name="connsiteY4" fmla="*/ 2558962 h 2558962"/>
              <a:gd name="connsiteX5" fmla="*/ 0 w 9139395"/>
              <a:gd name="connsiteY5" fmla="*/ 0 h 2558962"/>
              <a:gd name="connsiteX0" fmla="*/ 0 w 9139395"/>
              <a:gd name="connsiteY0" fmla="*/ 21735 h 2580697"/>
              <a:gd name="connsiteX1" fmla="*/ 1450122 w 9139395"/>
              <a:gd name="connsiteY1" fmla="*/ 7459 h 2580697"/>
              <a:gd name="connsiteX2" fmla="*/ 1533249 w 9139395"/>
              <a:gd name="connsiteY2" fmla="*/ 2127626 h 2580697"/>
              <a:gd name="connsiteX3" fmla="*/ 9139395 w 9139395"/>
              <a:gd name="connsiteY3" fmla="*/ 2580697 h 2580697"/>
              <a:gd name="connsiteX4" fmla="*/ 0 w 9139395"/>
              <a:gd name="connsiteY4" fmla="*/ 2580697 h 2580697"/>
              <a:gd name="connsiteX5" fmla="*/ 0 w 9139395"/>
              <a:gd name="connsiteY5" fmla="*/ 21735 h 2580697"/>
              <a:gd name="connsiteX0" fmla="*/ 0 w 9139395"/>
              <a:gd name="connsiteY0" fmla="*/ 24561 h 2583523"/>
              <a:gd name="connsiteX1" fmla="*/ 1450122 w 9139395"/>
              <a:gd name="connsiteY1" fmla="*/ 10285 h 2583523"/>
              <a:gd name="connsiteX2" fmla="*/ 1533249 w 9139395"/>
              <a:gd name="connsiteY2" fmla="*/ 2130452 h 2583523"/>
              <a:gd name="connsiteX3" fmla="*/ 9139395 w 9139395"/>
              <a:gd name="connsiteY3" fmla="*/ 2583523 h 2583523"/>
              <a:gd name="connsiteX4" fmla="*/ 0 w 9139395"/>
              <a:gd name="connsiteY4" fmla="*/ 2583523 h 2583523"/>
              <a:gd name="connsiteX5" fmla="*/ 0 w 9139395"/>
              <a:gd name="connsiteY5" fmla="*/ 24561 h 2583523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195383 h 2754345"/>
              <a:gd name="connsiteX1" fmla="*/ 1450122 w 9139395"/>
              <a:gd name="connsiteY1" fmla="*/ 181107 h 2754345"/>
              <a:gd name="connsiteX2" fmla="*/ 1533249 w 9139395"/>
              <a:gd name="connsiteY2" fmla="*/ 2301274 h 2754345"/>
              <a:gd name="connsiteX3" fmla="*/ 9139395 w 9139395"/>
              <a:gd name="connsiteY3" fmla="*/ 2754345 h 2754345"/>
              <a:gd name="connsiteX4" fmla="*/ 0 w 9139395"/>
              <a:gd name="connsiteY4" fmla="*/ 2754345 h 2754345"/>
              <a:gd name="connsiteX5" fmla="*/ 0 w 9139395"/>
              <a:gd name="connsiteY5" fmla="*/ 195383 h 2754345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574710 h 2574710"/>
              <a:gd name="connsiteX4" fmla="*/ 0 w 9139395"/>
              <a:gd name="connsiteY4" fmla="*/ 2574710 h 2574710"/>
              <a:gd name="connsiteX5" fmla="*/ 0 w 9139395"/>
              <a:gd name="connsiteY5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39395" h="2574710">
                <a:moveTo>
                  <a:pt x="0" y="15748"/>
                </a:moveTo>
                <a:cubicBezTo>
                  <a:pt x="1447033" y="2512"/>
                  <a:pt x="-21615" y="-2859"/>
                  <a:pt x="1450122" y="1472"/>
                </a:cubicBezTo>
                <a:lnTo>
                  <a:pt x="1533249" y="2121639"/>
                </a:lnTo>
                <a:lnTo>
                  <a:pt x="9139395" y="2107363"/>
                </a:lnTo>
                <a:lnTo>
                  <a:pt x="9139395" y="2574710"/>
                </a:lnTo>
                <a:lnTo>
                  <a:pt x="0" y="2574710"/>
                </a:lnTo>
                <a:lnTo>
                  <a:pt x="0" y="15748"/>
                </a:lnTo>
                <a:close/>
              </a:path>
            </a:pathLst>
          </a:custGeom>
          <a:solidFill>
            <a:srgbClr val="FFFFFF">
              <a:alpha val="30196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7" name="Text Placeholder 210"/>
          <p:cNvSpPr>
            <a:spLocks noGrp="1"/>
          </p:cNvSpPr>
          <p:nvPr>
            <p:ph type="body" sz="quarter" idx="18" hasCustomPrompt="1"/>
          </p:nvPr>
        </p:nvSpPr>
        <p:spPr>
          <a:xfrm>
            <a:off x="5828053" y="1444100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39" name="Text Placeholder 210"/>
          <p:cNvSpPr>
            <a:spLocks noGrp="1"/>
          </p:cNvSpPr>
          <p:nvPr>
            <p:ph type="body" sz="quarter" idx="20" hasCustomPrompt="1"/>
          </p:nvPr>
        </p:nvSpPr>
        <p:spPr>
          <a:xfrm>
            <a:off x="4722223" y="3181441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40" name="Text Placeholder 210"/>
          <p:cNvSpPr>
            <a:spLocks noGrp="1"/>
          </p:cNvSpPr>
          <p:nvPr>
            <p:ph type="body" sz="quarter" idx="21" hasCustomPrompt="1"/>
          </p:nvPr>
        </p:nvSpPr>
        <p:spPr>
          <a:xfrm>
            <a:off x="6929821" y="3181441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145548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Freeform 5">
            <a:hlinkClick r:id="" action="ppaction://noaction"/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646136" y="2191200"/>
            <a:ext cx="1326586" cy="1112893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4" name="Freeform 6">
            <a:hlinkClick r:id="" action="ppaction://noaction"/>
          </p:cNvPr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6747348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7" name="Freeform 4">
            <a:hlinkClick r:id="" action="ppaction://noaction"/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547156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1" name="Text Placeholder 2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22077" y="2002363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3" name="Text Placeholder 21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931877" y="2011424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4" name="Text Placeholder 2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26977" y="2602916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ext</a:t>
            </a:r>
          </a:p>
        </p:txBody>
      </p:sp>
      <p:sp>
        <p:nvSpPr>
          <p:cNvPr id="55" name="Freeform 4">
            <a:hlinkClick r:id="" action="ppaction://noaction"/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4550627" y="276988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56" name="Freeform 4">
            <a:hlinkClick r:id="" action="ppaction://noaction"/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6760427" y="277369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9" name="Text Placeholder 21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872001" y="1017673"/>
            <a:ext cx="1944000" cy="3448050"/>
          </a:xfrm>
          <a:prstGeom prst="roundRect">
            <a:avLst>
              <a:gd name="adj" fmla="val 8804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0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5pPr marL="1828800" indent="0">
              <a:buNone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69" name="AutoShape 15"/>
          <p:cNvSpPr>
            <a:spLocks noChangeArrowheads="1"/>
          </p:cNvSpPr>
          <p:nvPr userDrawn="1"/>
        </p:nvSpPr>
        <p:spPr bwMode="gray">
          <a:xfrm>
            <a:off x="1450536" y="4790804"/>
            <a:ext cx="1568573" cy="283857"/>
          </a:xfrm>
          <a:prstGeom prst="homePlate">
            <a:avLst>
              <a:gd name="adj" fmla="val 30359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Pre-Clinical</a:t>
            </a:r>
          </a:p>
        </p:txBody>
      </p:sp>
      <p:sp>
        <p:nvSpPr>
          <p:cNvPr id="70" name="AutoShape 16"/>
          <p:cNvSpPr>
            <a:spLocks noChangeArrowheads="1"/>
          </p:cNvSpPr>
          <p:nvPr userDrawn="1"/>
        </p:nvSpPr>
        <p:spPr bwMode="gray">
          <a:xfrm>
            <a:off x="2894108" y="4790804"/>
            <a:ext cx="1568900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Early Clinical Dev.</a:t>
            </a:r>
          </a:p>
        </p:txBody>
      </p:sp>
      <p:sp>
        <p:nvSpPr>
          <p:cNvPr id="71" name="AutoShape 16"/>
          <p:cNvSpPr>
            <a:spLocks noChangeArrowheads="1"/>
          </p:cNvSpPr>
          <p:nvPr userDrawn="1"/>
        </p:nvSpPr>
        <p:spPr bwMode="gray">
          <a:xfrm>
            <a:off x="4337680" y="4790804"/>
            <a:ext cx="1546032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Late Clinical Dev.</a:t>
            </a:r>
          </a:p>
        </p:txBody>
      </p:sp>
      <p:sp>
        <p:nvSpPr>
          <p:cNvPr id="72" name="AutoShape 16"/>
          <p:cNvSpPr>
            <a:spLocks noChangeArrowheads="1"/>
          </p:cNvSpPr>
          <p:nvPr userDrawn="1"/>
        </p:nvSpPr>
        <p:spPr bwMode="gray">
          <a:xfrm>
            <a:off x="5781253" y="4790804"/>
            <a:ext cx="1546359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Registration</a:t>
            </a:r>
          </a:p>
        </p:txBody>
      </p:sp>
      <p:sp>
        <p:nvSpPr>
          <p:cNvPr id="73" name="AutoShape 16"/>
          <p:cNvSpPr>
            <a:spLocks noChangeArrowheads="1"/>
          </p:cNvSpPr>
          <p:nvPr userDrawn="1"/>
        </p:nvSpPr>
        <p:spPr bwMode="gray">
          <a:xfrm>
            <a:off x="7224824" y="4790804"/>
            <a:ext cx="1836627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Launch &amp; Life Cyc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 flipH="1" flipV="1">
            <a:off x="1519964" y="4790804"/>
            <a:ext cx="7463184" cy="26497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</a:ln>
          <a:effectLst/>
        </p:spPr>
      </p:cxnSp>
      <p:grpSp>
        <p:nvGrpSpPr>
          <p:cNvPr id="75" name="Group 74"/>
          <p:cNvGrpSpPr/>
          <p:nvPr userDrawn="1"/>
        </p:nvGrpSpPr>
        <p:grpSpPr>
          <a:xfrm>
            <a:off x="29384" y="3349110"/>
            <a:ext cx="1723122" cy="1610005"/>
            <a:chOff x="29384" y="3349110"/>
            <a:chExt cx="1723122" cy="1610005"/>
          </a:xfrm>
        </p:grpSpPr>
        <p:sp>
          <p:nvSpPr>
            <p:cNvPr id="76" name="Rectangle 81"/>
            <p:cNvSpPr/>
            <p:nvPr userDrawn="1"/>
          </p:nvSpPr>
          <p:spPr>
            <a:xfrm>
              <a:off x="1243044" y="3352469"/>
              <a:ext cx="509462" cy="1606646"/>
            </a:xfrm>
            <a:custGeom>
              <a:avLst/>
              <a:gdLst>
                <a:gd name="connsiteX0" fmla="*/ 0 w 1224136"/>
                <a:gd name="connsiteY0" fmla="*/ 0 h 2159132"/>
                <a:gd name="connsiteX1" fmla="*/ 1224136 w 1224136"/>
                <a:gd name="connsiteY1" fmla="*/ 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528811 w 1224136"/>
                <a:gd name="connsiteY1" fmla="*/ 1281112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319261 w 1224136"/>
                <a:gd name="connsiteY1" fmla="*/ 194310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200025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1985963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33561 w 1224136"/>
                <a:gd name="connsiteY1" fmla="*/ 1857375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12262"/>
                <a:gd name="connsiteY0" fmla="*/ 0 h 2159132"/>
                <a:gd name="connsiteX1" fmla="*/ 433561 w 1212262"/>
                <a:gd name="connsiteY1" fmla="*/ 1857375 h 2159132"/>
                <a:gd name="connsiteX2" fmla="*/ 1212262 w 1212262"/>
                <a:gd name="connsiteY2" fmla="*/ 2058192 h 2159132"/>
                <a:gd name="connsiteX3" fmla="*/ 0 w 1212262"/>
                <a:gd name="connsiteY3" fmla="*/ 2159132 h 2159132"/>
                <a:gd name="connsiteX4" fmla="*/ 0 w 1212262"/>
                <a:gd name="connsiteY4" fmla="*/ 0 h 2159132"/>
                <a:gd name="connsiteX0" fmla="*/ 0 w 1230370"/>
                <a:gd name="connsiteY0" fmla="*/ 0 h 2159132"/>
                <a:gd name="connsiteX1" fmla="*/ 433561 w 1230370"/>
                <a:gd name="connsiteY1" fmla="*/ 1857375 h 2159132"/>
                <a:gd name="connsiteX2" fmla="*/ 1230370 w 1230370"/>
                <a:gd name="connsiteY2" fmla="*/ 2071772 h 2159132"/>
                <a:gd name="connsiteX3" fmla="*/ 0 w 1230370"/>
                <a:gd name="connsiteY3" fmla="*/ 2159132 h 2159132"/>
                <a:gd name="connsiteX4" fmla="*/ 0 w 1230370"/>
                <a:gd name="connsiteY4" fmla="*/ 0 h 2159132"/>
                <a:gd name="connsiteX0" fmla="*/ 0 w 1033212"/>
                <a:gd name="connsiteY0" fmla="*/ 0 h 2159132"/>
                <a:gd name="connsiteX1" fmla="*/ 433561 w 1033212"/>
                <a:gd name="connsiteY1" fmla="*/ 1857375 h 2159132"/>
                <a:gd name="connsiteX2" fmla="*/ 1033212 w 1033212"/>
                <a:gd name="connsiteY2" fmla="*/ 1900897 h 2159132"/>
                <a:gd name="connsiteX3" fmla="*/ 0 w 1033212"/>
                <a:gd name="connsiteY3" fmla="*/ 2159132 h 2159132"/>
                <a:gd name="connsiteX4" fmla="*/ 0 w 1033212"/>
                <a:gd name="connsiteY4" fmla="*/ 0 h 2159132"/>
                <a:gd name="connsiteX0" fmla="*/ 0 w 1042736"/>
                <a:gd name="connsiteY0" fmla="*/ 0 h 1795764"/>
                <a:gd name="connsiteX1" fmla="*/ 443085 w 1042736"/>
                <a:gd name="connsiteY1" fmla="*/ 1494007 h 1795764"/>
                <a:gd name="connsiteX2" fmla="*/ 1042736 w 1042736"/>
                <a:gd name="connsiteY2" fmla="*/ 1537529 h 1795764"/>
                <a:gd name="connsiteX3" fmla="*/ 9524 w 1042736"/>
                <a:gd name="connsiteY3" fmla="*/ 1795764 h 1795764"/>
                <a:gd name="connsiteX4" fmla="*/ 0 w 1042736"/>
                <a:gd name="connsiteY4" fmla="*/ 0 h 1795764"/>
                <a:gd name="connsiteX0" fmla="*/ 14624 w 1033546"/>
                <a:gd name="connsiteY0" fmla="*/ 0 h 1795764"/>
                <a:gd name="connsiteX1" fmla="*/ 433895 w 1033546"/>
                <a:gd name="connsiteY1" fmla="*/ 1494007 h 1795764"/>
                <a:gd name="connsiteX2" fmla="*/ 1033546 w 1033546"/>
                <a:gd name="connsiteY2" fmla="*/ 1537529 h 1795764"/>
                <a:gd name="connsiteX3" fmla="*/ 334 w 1033546"/>
                <a:gd name="connsiteY3" fmla="*/ 1795764 h 1795764"/>
                <a:gd name="connsiteX4" fmla="*/ 14624 w 1033546"/>
                <a:gd name="connsiteY4" fmla="*/ 0 h 1795764"/>
                <a:gd name="connsiteX0" fmla="*/ 0 w 1018922"/>
                <a:gd name="connsiteY0" fmla="*/ 0 h 1795764"/>
                <a:gd name="connsiteX1" fmla="*/ 419271 w 1018922"/>
                <a:gd name="connsiteY1" fmla="*/ 1494007 h 1795764"/>
                <a:gd name="connsiteX2" fmla="*/ 1018922 w 1018922"/>
                <a:gd name="connsiteY2" fmla="*/ 1537529 h 1795764"/>
                <a:gd name="connsiteX3" fmla="*/ 4760 w 1018922"/>
                <a:gd name="connsiteY3" fmla="*/ 1795764 h 1795764"/>
                <a:gd name="connsiteX4" fmla="*/ 0 w 1018922"/>
                <a:gd name="connsiteY4" fmla="*/ 0 h 1795764"/>
                <a:gd name="connsiteX0" fmla="*/ 0 w 1018922"/>
                <a:gd name="connsiteY0" fmla="*/ 0 h 1714451"/>
                <a:gd name="connsiteX1" fmla="*/ 419271 w 1018922"/>
                <a:gd name="connsiteY1" fmla="*/ 1494007 h 1714451"/>
                <a:gd name="connsiteX2" fmla="*/ 1018922 w 1018922"/>
                <a:gd name="connsiteY2" fmla="*/ 1537529 h 1714451"/>
                <a:gd name="connsiteX3" fmla="*/ 9522 w 1018922"/>
                <a:gd name="connsiteY3" fmla="*/ 1714451 h 1714451"/>
                <a:gd name="connsiteX4" fmla="*/ 0 w 1018922"/>
                <a:gd name="connsiteY4" fmla="*/ 0 h 171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922" h="1714451">
                  <a:moveTo>
                    <a:pt x="0" y="0"/>
                  </a:moveTo>
                  <a:lnTo>
                    <a:pt x="419271" y="1494007"/>
                  </a:lnTo>
                  <a:lnTo>
                    <a:pt x="1018922" y="1537529"/>
                  </a:lnTo>
                  <a:lnTo>
                    <a:pt x="9522" y="1714451"/>
                  </a:lnTo>
                  <a:cubicBezTo>
                    <a:pt x="6347" y="1115863"/>
                    <a:pt x="3175" y="598588"/>
                    <a:pt x="0" y="0"/>
                  </a:cubicBezTo>
                  <a:close/>
                </a:path>
              </a:pathLst>
            </a:custGeom>
            <a:solidFill>
              <a:srgbClr val="000346"/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9384" y="3349110"/>
              <a:ext cx="1224136" cy="337401"/>
            </a:xfrm>
            <a:prstGeom prst="rect">
              <a:avLst/>
            </a:prstGeom>
            <a:solidFill>
              <a:srgbClr val="000346"/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Regulatory</a:t>
              </a:r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29384" y="3686511"/>
            <a:ext cx="1722901" cy="1230421"/>
            <a:chOff x="29384" y="3686511"/>
            <a:chExt cx="1722901" cy="1230421"/>
          </a:xfrm>
        </p:grpSpPr>
        <p:sp>
          <p:nvSpPr>
            <p:cNvPr id="79" name="Rectangle 72"/>
            <p:cNvSpPr/>
            <p:nvPr userDrawn="1"/>
          </p:nvSpPr>
          <p:spPr>
            <a:xfrm>
              <a:off x="1242649" y="3686856"/>
              <a:ext cx="509636" cy="1230076"/>
            </a:xfrm>
            <a:custGeom>
              <a:avLst/>
              <a:gdLst>
                <a:gd name="connsiteX0" fmla="*/ 0 w 1224136"/>
                <a:gd name="connsiteY0" fmla="*/ 0 h 1799092"/>
                <a:gd name="connsiteX1" fmla="*/ 1224136 w 1224136"/>
                <a:gd name="connsiteY1" fmla="*/ 0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57361 w 1224136"/>
                <a:gd name="connsiteY1" fmla="*/ 1609725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62124 w 1224136"/>
                <a:gd name="connsiteY1" fmla="*/ 1519238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15084"/>
                <a:gd name="connsiteY0" fmla="*/ 0 h 1799092"/>
                <a:gd name="connsiteX1" fmla="*/ 362124 w 1215084"/>
                <a:gd name="connsiteY1" fmla="*/ 1519238 h 1799092"/>
                <a:gd name="connsiteX2" fmla="*/ 1215084 w 1215084"/>
                <a:gd name="connsiteY2" fmla="*/ 1708557 h 1799092"/>
                <a:gd name="connsiteX3" fmla="*/ 0 w 1215084"/>
                <a:gd name="connsiteY3" fmla="*/ 1799092 h 1799092"/>
                <a:gd name="connsiteX4" fmla="*/ 0 w 1215084"/>
                <a:gd name="connsiteY4" fmla="*/ 0 h 1799092"/>
                <a:gd name="connsiteX0" fmla="*/ 0 w 1038322"/>
                <a:gd name="connsiteY0" fmla="*/ 0 h 1799092"/>
                <a:gd name="connsiteX1" fmla="*/ 362124 w 1038322"/>
                <a:gd name="connsiteY1" fmla="*/ 1519238 h 1799092"/>
                <a:gd name="connsiteX2" fmla="*/ 1038322 w 1038322"/>
                <a:gd name="connsiteY2" fmla="*/ 1546675 h 1799092"/>
                <a:gd name="connsiteX3" fmla="*/ 0 w 1038322"/>
                <a:gd name="connsiteY3" fmla="*/ 1799092 h 1799092"/>
                <a:gd name="connsiteX4" fmla="*/ 0 w 1038322"/>
                <a:gd name="connsiteY4" fmla="*/ 0 h 1799092"/>
                <a:gd name="connsiteX0" fmla="*/ 14286 w 1038322"/>
                <a:gd name="connsiteY0" fmla="*/ 0 h 1773325"/>
                <a:gd name="connsiteX1" fmla="*/ 362124 w 1038322"/>
                <a:gd name="connsiteY1" fmla="*/ 1493471 h 1773325"/>
                <a:gd name="connsiteX2" fmla="*/ 1038322 w 1038322"/>
                <a:gd name="connsiteY2" fmla="*/ 1520908 h 1773325"/>
                <a:gd name="connsiteX3" fmla="*/ 0 w 1038322"/>
                <a:gd name="connsiteY3" fmla="*/ 1773325 h 1773325"/>
                <a:gd name="connsiteX4" fmla="*/ 14286 w 1038322"/>
                <a:gd name="connsiteY4" fmla="*/ 0 h 1773325"/>
                <a:gd name="connsiteX0" fmla="*/ 4762 w 1028798"/>
                <a:gd name="connsiteY0" fmla="*/ 0 h 1663815"/>
                <a:gd name="connsiteX1" fmla="*/ 352600 w 1028798"/>
                <a:gd name="connsiteY1" fmla="*/ 1493471 h 1663815"/>
                <a:gd name="connsiteX2" fmla="*/ 1028798 w 1028798"/>
                <a:gd name="connsiteY2" fmla="*/ 1520908 h 1663815"/>
                <a:gd name="connsiteX3" fmla="*/ 0 w 1028798"/>
                <a:gd name="connsiteY3" fmla="*/ 1663815 h 1663815"/>
                <a:gd name="connsiteX4" fmla="*/ 4762 w 1028798"/>
                <a:gd name="connsiteY4" fmla="*/ 0 h 1663815"/>
                <a:gd name="connsiteX0" fmla="*/ 4762 w 1019272"/>
                <a:gd name="connsiteY0" fmla="*/ 0 h 1663815"/>
                <a:gd name="connsiteX1" fmla="*/ 352600 w 1019272"/>
                <a:gd name="connsiteY1" fmla="*/ 1493471 h 1663815"/>
                <a:gd name="connsiteX2" fmla="*/ 1019272 w 1019272"/>
                <a:gd name="connsiteY2" fmla="*/ 1495140 h 1663815"/>
                <a:gd name="connsiteX3" fmla="*/ 0 w 1019272"/>
                <a:gd name="connsiteY3" fmla="*/ 1663815 h 1663815"/>
                <a:gd name="connsiteX4" fmla="*/ 4762 w 1019272"/>
                <a:gd name="connsiteY4" fmla="*/ 0 h 166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272" h="1663815">
                  <a:moveTo>
                    <a:pt x="4762" y="0"/>
                  </a:moveTo>
                  <a:lnTo>
                    <a:pt x="352600" y="1493471"/>
                  </a:lnTo>
                  <a:lnTo>
                    <a:pt x="1019272" y="1495140"/>
                  </a:lnTo>
                  <a:lnTo>
                    <a:pt x="0" y="1663815"/>
                  </a:lnTo>
                  <a:cubicBezTo>
                    <a:pt x="1587" y="1109210"/>
                    <a:pt x="3175" y="554605"/>
                    <a:pt x="4762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29384" y="3686511"/>
              <a:ext cx="1224136" cy="33740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MC &amp; Quality</a:t>
              </a:r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29384" y="4024151"/>
            <a:ext cx="1731500" cy="923057"/>
            <a:chOff x="29384" y="4024151"/>
            <a:chExt cx="1731500" cy="923057"/>
          </a:xfrm>
        </p:grpSpPr>
        <p:sp>
          <p:nvSpPr>
            <p:cNvPr id="82" name="Rectangle 74"/>
            <p:cNvSpPr/>
            <p:nvPr userDrawn="1"/>
          </p:nvSpPr>
          <p:spPr>
            <a:xfrm>
              <a:off x="1251139" y="4026532"/>
              <a:ext cx="509745" cy="920676"/>
            </a:xfrm>
            <a:custGeom>
              <a:avLst/>
              <a:gdLst>
                <a:gd name="connsiteX0" fmla="*/ 0 w 1224136"/>
                <a:gd name="connsiteY0" fmla="*/ 0 h 1079012"/>
                <a:gd name="connsiteX1" fmla="*/ 1224136 w 1224136"/>
                <a:gd name="connsiteY1" fmla="*/ 0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90588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979424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033778"/>
                <a:gd name="connsiteY0" fmla="*/ 0 h 1079012"/>
                <a:gd name="connsiteX1" fmla="*/ 214486 w 1033778"/>
                <a:gd name="connsiteY1" fmla="*/ 866776 h 1079012"/>
                <a:gd name="connsiteX2" fmla="*/ 1033778 w 1033778"/>
                <a:gd name="connsiteY2" fmla="*/ 817544 h 1079012"/>
                <a:gd name="connsiteX3" fmla="*/ 0 w 1033778"/>
                <a:gd name="connsiteY3" fmla="*/ 1079012 h 1079012"/>
                <a:gd name="connsiteX4" fmla="*/ 0 w 1033778"/>
                <a:gd name="connsiteY4" fmla="*/ 0 h 1079012"/>
                <a:gd name="connsiteX0" fmla="*/ 14288 w 1033778"/>
                <a:gd name="connsiteY0" fmla="*/ 0 h 1076471"/>
                <a:gd name="connsiteX1" fmla="*/ 214486 w 1033778"/>
                <a:gd name="connsiteY1" fmla="*/ 864235 h 1076471"/>
                <a:gd name="connsiteX2" fmla="*/ 1033778 w 1033778"/>
                <a:gd name="connsiteY2" fmla="*/ 815003 h 1076471"/>
                <a:gd name="connsiteX3" fmla="*/ 0 w 1033778"/>
                <a:gd name="connsiteY3" fmla="*/ 1076471 h 1076471"/>
                <a:gd name="connsiteX4" fmla="*/ 14288 w 1033778"/>
                <a:gd name="connsiteY4" fmla="*/ 0 h 1076471"/>
                <a:gd name="connsiteX0" fmla="*/ 0 w 1019490"/>
                <a:gd name="connsiteY0" fmla="*/ 0 h 982452"/>
                <a:gd name="connsiteX1" fmla="*/ 200198 w 1019490"/>
                <a:gd name="connsiteY1" fmla="*/ 864235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  <a:gd name="connsiteX0" fmla="*/ 0 w 1019490"/>
                <a:gd name="connsiteY0" fmla="*/ 0 h 982452"/>
                <a:gd name="connsiteX1" fmla="*/ 219248 w 1019490"/>
                <a:gd name="connsiteY1" fmla="*/ 854070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490" h="982452">
                  <a:moveTo>
                    <a:pt x="0" y="0"/>
                  </a:moveTo>
                  <a:lnTo>
                    <a:pt x="219248" y="854070"/>
                  </a:lnTo>
                  <a:lnTo>
                    <a:pt x="1019490" y="815003"/>
                  </a:lnTo>
                  <a:lnTo>
                    <a:pt x="9524" y="982452"/>
                  </a:lnTo>
                  <a:cubicBezTo>
                    <a:pt x="6349" y="654968"/>
                    <a:pt x="3175" y="32748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Rectangle 82"/>
            <p:cNvSpPr/>
            <p:nvPr userDrawn="1"/>
          </p:nvSpPr>
          <p:spPr>
            <a:xfrm>
              <a:off x="29384" y="4024151"/>
              <a:ext cx="1224136" cy="33740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linical trial management</a:t>
              </a:r>
            </a:p>
          </p:txBody>
        </p:sp>
      </p:grpSp>
      <p:grpSp>
        <p:nvGrpSpPr>
          <p:cNvPr id="84" name="Group 83"/>
          <p:cNvGrpSpPr/>
          <p:nvPr userDrawn="1"/>
        </p:nvGrpSpPr>
        <p:grpSpPr>
          <a:xfrm>
            <a:off x="29385" y="4359169"/>
            <a:ext cx="1722877" cy="652529"/>
            <a:chOff x="29385" y="4359169"/>
            <a:chExt cx="1722877" cy="652529"/>
          </a:xfrm>
        </p:grpSpPr>
        <p:sp>
          <p:nvSpPr>
            <p:cNvPr id="85" name="Rectangle 76"/>
            <p:cNvSpPr/>
            <p:nvPr userDrawn="1"/>
          </p:nvSpPr>
          <p:spPr>
            <a:xfrm>
              <a:off x="1241265" y="4359169"/>
              <a:ext cx="510997" cy="602325"/>
            </a:xfrm>
            <a:custGeom>
              <a:avLst/>
              <a:gdLst>
                <a:gd name="connsiteX0" fmla="*/ 0 w 1224136"/>
                <a:gd name="connsiteY0" fmla="*/ 0 h 718972"/>
                <a:gd name="connsiteX1" fmla="*/ 1224136 w 1224136"/>
                <a:gd name="connsiteY1" fmla="*/ 0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24136"/>
                <a:gd name="connsiteY0" fmla="*/ 0 h 718972"/>
                <a:gd name="connsiteX1" fmla="*/ 143048 w 1224136"/>
                <a:gd name="connsiteY1" fmla="*/ 542925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15082"/>
                <a:gd name="connsiteY0" fmla="*/ 0 h 718972"/>
                <a:gd name="connsiteX1" fmla="*/ 143048 w 1215082"/>
                <a:gd name="connsiteY1" fmla="*/ 542925 h 718972"/>
                <a:gd name="connsiteX2" fmla="*/ 1215082 w 1215082"/>
                <a:gd name="connsiteY2" fmla="*/ 623910 h 718972"/>
                <a:gd name="connsiteX3" fmla="*/ 0 w 1215082"/>
                <a:gd name="connsiteY3" fmla="*/ 718972 h 718972"/>
                <a:gd name="connsiteX4" fmla="*/ 0 w 1215082"/>
                <a:gd name="connsiteY4" fmla="*/ 0 h 718972"/>
                <a:gd name="connsiteX0" fmla="*/ 0 w 1031522"/>
                <a:gd name="connsiteY0" fmla="*/ 0 h 718972"/>
                <a:gd name="connsiteX1" fmla="*/ 143048 w 1031522"/>
                <a:gd name="connsiteY1" fmla="*/ 542925 h 718972"/>
                <a:gd name="connsiteX2" fmla="*/ 1031522 w 1031522"/>
                <a:gd name="connsiteY2" fmla="*/ 462029 h 718972"/>
                <a:gd name="connsiteX3" fmla="*/ 0 w 1031522"/>
                <a:gd name="connsiteY3" fmla="*/ 718972 h 718972"/>
                <a:gd name="connsiteX4" fmla="*/ 0 w 1031522"/>
                <a:gd name="connsiteY4" fmla="*/ 0 h 718972"/>
                <a:gd name="connsiteX0" fmla="*/ 9526 w 1031522"/>
                <a:gd name="connsiteY0" fmla="*/ 0 h 716430"/>
                <a:gd name="connsiteX1" fmla="*/ 143048 w 1031522"/>
                <a:gd name="connsiteY1" fmla="*/ 540383 h 716430"/>
                <a:gd name="connsiteX2" fmla="*/ 1031522 w 1031522"/>
                <a:gd name="connsiteY2" fmla="*/ 459487 h 716430"/>
                <a:gd name="connsiteX3" fmla="*/ 0 w 1031522"/>
                <a:gd name="connsiteY3" fmla="*/ 716430 h 716430"/>
                <a:gd name="connsiteX4" fmla="*/ 9526 w 1031522"/>
                <a:gd name="connsiteY4" fmla="*/ 0 h 716430"/>
                <a:gd name="connsiteX0" fmla="*/ 0 w 1021996"/>
                <a:gd name="connsiteY0" fmla="*/ 0 h 637658"/>
                <a:gd name="connsiteX1" fmla="*/ 133522 w 1021996"/>
                <a:gd name="connsiteY1" fmla="*/ 540383 h 637658"/>
                <a:gd name="connsiteX2" fmla="*/ 1021996 w 1021996"/>
                <a:gd name="connsiteY2" fmla="*/ 459487 h 637658"/>
                <a:gd name="connsiteX3" fmla="*/ 9524 w 1021996"/>
                <a:gd name="connsiteY3" fmla="*/ 637658 h 637658"/>
                <a:gd name="connsiteX4" fmla="*/ 0 w 1021996"/>
                <a:gd name="connsiteY4" fmla="*/ 0 h 637658"/>
                <a:gd name="connsiteX0" fmla="*/ 0 w 1021996"/>
                <a:gd name="connsiteY0" fmla="*/ 0 h 642741"/>
                <a:gd name="connsiteX1" fmla="*/ 133522 w 1021996"/>
                <a:gd name="connsiteY1" fmla="*/ 545466 h 642741"/>
                <a:gd name="connsiteX2" fmla="*/ 1021996 w 1021996"/>
                <a:gd name="connsiteY2" fmla="*/ 464570 h 642741"/>
                <a:gd name="connsiteX3" fmla="*/ 9524 w 1021996"/>
                <a:gd name="connsiteY3" fmla="*/ 642741 h 642741"/>
                <a:gd name="connsiteX4" fmla="*/ 0 w 1021996"/>
                <a:gd name="connsiteY4" fmla="*/ 0 h 6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996" h="642741">
                  <a:moveTo>
                    <a:pt x="0" y="0"/>
                  </a:moveTo>
                  <a:lnTo>
                    <a:pt x="133522" y="545466"/>
                  </a:lnTo>
                  <a:lnTo>
                    <a:pt x="1021996" y="464570"/>
                  </a:lnTo>
                  <a:lnTo>
                    <a:pt x="9524" y="6427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86" name="Straight Connector 85"/>
            <p:cNvCxnSpPr/>
            <p:nvPr userDrawn="1"/>
          </p:nvCxnSpPr>
          <p:spPr>
            <a:xfrm flipH="1" flipV="1">
              <a:off x="1238711" y="4842999"/>
              <a:ext cx="5284" cy="168699"/>
            </a:xfrm>
            <a:prstGeom prst="lin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</p:cxnSp>
        <p:sp>
          <p:nvSpPr>
            <p:cNvPr id="87" name="Rectangle 86"/>
            <p:cNvSpPr/>
            <p:nvPr userDrawn="1"/>
          </p:nvSpPr>
          <p:spPr>
            <a:xfrm>
              <a:off x="29385" y="4361552"/>
              <a:ext cx="1224136" cy="33636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Safety &amp; Vigilance</a:t>
              </a:r>
            </a:p>
          </p:txBody>
        </p:sp>
      </p:grpSp>
      <p:grpSp>
        <p:nvGrpSpPr>
          <p:cNvPr id="88" name="Group 87"/>
          <p:cNvGrpSpPr/>
          <p:nvPr userDrawn="1"/>
        </p:nvGrpSpPr>
        <p:grpSpPr>
          <a:xfrm>
            <a:off x="29384" y="4697913"/>
            <a:ext cx="1729229" cy="337402"/>
            <a:chOff x="29384" y="4697913"/>
            <a:chExt cx="1729229" cy="337402"/>
          </a:xfrm>
        </p:grpSpPr>
        <p:sp>
          <p:nvSpPr>
            <p:cNvPr id="89" name="Rectangle 79"/>
            <p:cNvSpPr/>
            <p:nvPr userDrawn="1"/>
          </p:nvSpPr>
          <p:spPr>
            <a:xfrm>
              <a:off x="1248758" y="4697913"/>
              <a:ext cx="509855" cy="337402"/>
            </a:xfrm>
            <a:custGeom>
              <a:avLst/>
              <a:gdLst>
                <a:gd name="connsiteX0" fmla="*/ 0 w 1224136"/>
                <a:gd name="connsiteY0" fmla="*/ 0 h 360040"/>
                <a:gd name="connsiteX1" fmla="*/ 1224136 w 1224136"/>
                <a:gd name="connsiteY1" fmla="*/ 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71611 w 1224136"/>
                <a:gd name="connsiteY1" fmla="*/ 17145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81136 w 1224136"/>
                <a:gd name="connsiteY1" fmla="*/ 238125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33190"/>
                <a:gd name="connsiteY0" fmla="*/ 0 h 360040"/>
                <a:gd name="connsiteX1" fmla="*/ 81136 w 1233190"/>
                <a:gd name="connsiteY1" fmla="*/ 238125 h 360040"/>
                <a:gd name="connsiteX2" fmla="*/ 1233190 w 1233190"/>
                <a:gd name="connsiteY2" fmla="*/ 274032 h 360040"/>
                <a:gd name="connsiteX3" fmla="*/ 0 w 1233190"/>
                <a:gd name="connsiteY3" fmla="*/ 360040 h 360040"/>
                <a:gd name="connsiteX4" fmla="*/ 0 w 1233190"/>
                <a:gd name="connsiteY4" fmla="*/ 0 h 360040"/>
                <a:gd name="connsiteX0" fmla="*/ 0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0 w 1029234"/>
                <a:gd name="connsiteY4" fmla="*/ 0 h 360040"/>
                <a:gd name="connsiteX0" fmla="*/ 9526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9526 w 1029234"/>
                <a:gd name="connsiteY4" fmla="*/ 0 h 360040"/>
                <a:gd name="connsiteX0" fmla="*/ 2 w 1019710"/>
                <a:gd name="connsiteY0" fmla="*/ 0 h 357499"/>
                <a:gd name="connsiteX1" fmla="*/ 71612 w 1019710"/>
                <a:gd name="connsiteY1" fmla="*/ 238125 h 357499"/>
                <a:gd name="connsiteX2" fmla="*/ 1019710 w 1019710"/>
                <a:gd name="connsiteY2" fmla="*/ 103157 h 357499"/>
                <a:gd name="connsiteX3" fmla="*/ 0 w 1019710"/>
                <a:gd name="connsiteY3" fmla="*/ 357499 h 357499"/>
                <a:gd name="connsiteX4" fmla="*/ 2 w 1019710"/>
                <a:gd name="connsiteY4" fmla="*/ 0 h 35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710" h="357499">
                  <a:moveTo>
                    <a:pt x="2" y="0"/>
                  </a:moveTo>
                  <a:lnTo>
                    <a:pt x="71612" y="238125"/>
                  </a:lnTo>
                  <a:lnTo>
                    <a:pt x="1019710" y="103157"/>
                  </a:lnTo>
                  <a:lnTo>
                    <a:pt x="0" y="357499"/>
                  </a:lnTo>
                  <a:cubicBezTo>
                    <a:pt x="1" y="238333"/>
                    <a:pt x="1" y="119166"/>
                    <a:pt x="2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0" name="Rectangle 89"/>
            <p:cNvSpPr/>
            <p:nvPr userDrawn="1"/>
          </p:nvSpPr>
          <p:spPr>
            <a:xfrm>
              <a:off x="29384" y="4697914"/>
              <a:ext cx="1224136" cy="33740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Market Access</a:t>
              </a:r>
            </a:p>
          </p:txBody>
        </p:sp>
      </p:grpSp>
      <p:sp>
        <p:nvSpPr>
          <p:cNvPr id="170" name="Rectangle 33"/>
          <p:cNvSpPr/>
          <p:nvPr userDrawn="1"/>
        </p:nvSpPr>
        <p:spPr>
          <a:xfrm>
            <a:off x="1" y="2557332"/>
            <a:ext cx="9143999" cy="2574710"/>
          </a:xfrm>
          <a:custGeom>
            <a:avLst/>
            <a:gdLst>
              <a:gd name="connsiteX0" fmla="*/ 0 w 9139395"/>
              <a:gd name="connsiteY0" fmla="*/ 0 h 2558962"/>
              <a:gd name="connsiteX1" fmla="*/ 9139395 w 9139395"/>
              <a:gd name="connsiteY1" fmla="*/ 0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0 h 2558962"/>
              <a:gd name="connsiteX1" fmla="*/ 1533249 w 9139395"/>
              <a:gd name="connsiteY1" fmla="*/ 2105891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43712 h 2602674"/>
              <a:gd name="connsiteX1" fmla="*/ 1450122 w 9139395"/>
              <a:gd name="connsiteY1" fmla="*/ 112563 h 2602674"/>
              <a:gd name="connsiteX2" fmla="*/ 1533249 w 9139395"/>
              <a:gd name="connsiteY2" fmla="*/ 2149603 h 2602674"/>
              <a:gd name="connsiteX3" fmla="*/ 9139395 w 9139395"/>
              <a:gd name="connsiteY3" fmla="*/ 2602674 h 2602674"/>
              <a:gd name="connsiteX4" fmla="*/ 0 w 9139395"/>
              <a:gd name="connsiteY4" fmla="*/ 2602674 h 2602674"/>
              <a:gd name="connsiteX5" fmla="*/ 0 w 9139395"/>
              <a:gd name="connsiteY5" fmla="*/ 43712 h 2602674"/>
              <a:gd name="connsiteX0" fmla="*/ 0 w 9139395"/>
              <a:gd name="connsiteY0" fmla="*/ 0 h 2558962"/>
              <a:gd name="connsiteX1" fmla="*/ 1450122 w 9139395"/>
              <a:gd name="connsiteY1" fmla="*/ 68851 h 2558962"/>
              <a:gd name="connsiteX2" fmla="*/ 1533249 w 9139395"/>
              <a:gd name="connsiteY2" fmla="*/ 2105891 h 2558962"/>
              <a:gd name="connsiteX3" fmla="*/ 9139395 w 9139395"/>
              <a:gd name="connsiteY3" fmla="*/ 2558962 h 2558962"/>
              <a:gd name="connsiteX4" fmla="*/ 0 w 9139395"/>
              <a:gd name="connsiteY4" fmla="*/ 2558962 h 2558962"/>
              <a:gd name="connsiteX5" fmla="*/ 0 w 9139395"/>
              <a:gd name="connsiteY5" fmla="*/ 0 h 2558962"/>
              <a:gd name="connsiteX0" fmla="*/ 0 w 9139395"/>
              <a:gd name="connsiteY0" fmla="*/ 21735 h 2580697"/>
              <a:gd name="connsiteX1" fmla="*/ 1450122 w 9139395"/>
              <a:gd name="connsiteY1" fmla="*/ 7459 h 2580697"/>
              <a:gd name="connsiteX2" fmla="*/ 1533249 w 9139395"/>
              <a:gd name="connsiteY2" fmla="*/ 2127626 h 2580697"/>
              <a:gd name="connsiteX3" fmla="*/ 9139395 w 9139395"/>
              <a:gd name="connsiteY3" fmla="*/ 2580697 h 2580697"/>
              <a:gd name="connsiteX4" fmla="*/ 0 w 9139395"/>
              <a:gd name="connsiteY4" fmla="*/ 2580697 h 2580697"/>
              <a:gd name="connsiteX5" fmla="*/ 0 w 9139395"/>
              <a:gd name="connsiteY5" fmla="*/ 21735 h 2580697"/>
              <a:gd name="connsiteX0" fmla="*/ 0 w 9139395"/>
              <a:gd name="connsiteY0" fmla="*/ 24561 h 2583523"/>
              <a:gd name="connsiteX1" fmla="*/ 1450122 w 9139395"/>
              <a:gd name="connsiteY1" fmla="*/ 10285 h 2583523"/>
              <a:gd name="connsiteX2" fmla="*/ 1533249 w 9139395"/>
              <a:gd name="connsiteY2" fmla="*/ 2130452 h 2583523"/>
              <a:gd name="connsiteX3" fmla="*/ 9139395 w 9139395"/>
              <a:gd name="connsiteY3" fmla="*/ 2583523 h 2583523"/>
              <a:gd name="connsiteX4" fmla="*/ 0 w 9139395"/>
              <a:gd name="connsiteY4" fmla="*/ 2583523 h 2583523"/>
              <a:gd name="connsiteX5" fmla="*/ 0 w 9139395"/>
              <a:gd name="connsiteY5" fmla="*/ 24561 h 2583523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195383 h 2754345"/>
              <a:gd name="connsiteX1" fmla="*/ 1450122 w 9139395"/>
              <a:gd name="connsiteY1" fmla="*/ 181107 h 2754345"/>
              <a:gd name="connsiteX2" fmla="*/ 1533249 w 9139395"/>
              <a:gd name="connsiteY2" fmla="*/ 2301274 h 2754345"/>
              <a:gd name="connsiteX3" fmla="*/ 9139395 w 9139395"/>
              <a:gd name="connsiteY3" fmla="*/ 2754345 h 2754345"/>
              <a:gd name="connsiteX4" fmla="*/ 0 w 9139395"/>
              <a:gd name="connsiteY4" fmla="*/ 2754345 h 2754345"/>
              <a:gd name="connsiteX5" fmla="*/ 0 w 9139395"/>
              <a:gd name="connsiteY5" fmla="*/ 195383 h 2754345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574710 h 2574710"/>
              <a:gd name="connsiteX4" fmla="*/ 0 w 9139395"/>
              <a:gd name="connsiteY4" fmla="*/ 2574710 h 2574710"/>
              <a:gd name="connsiteX5" fmla="*/ 0 w 9139395"/>
              <a:gd name="connsiteY5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39395" h="2574710">
                <a:moveTo>
                  <a:pt x="0" y="15748"/>
                </a:moveTo>
                <a:cubicBezTo>
                  <a:pt x="1447033" y="2512"/>
                  <a:pt x="-21615" y="-2859"/>
                  <a:pt x="1450122" y="1472"/>
                </a:cubicBezTo>
                <a:lnTo>
                  <a:pt x="1533249" y="2121639"/>
                </a:lnTo>
                <a:lnTo>
                  <a:pt x="9139395" y="2107363"/>
                </a:lnTo>
                <a:lnTo>
                  <a:pt x="9139395" y="2574710"/>
                </a:lnTo>
                <a:lnTo>
                  <a:pt x="0" y="2574710"/>
                </a:lnTo>
                <a:lnTo>
                  <a:pt x="0" y="15748"/>
                </a:lnTo>
                <a:close/>
              </a:path>
            </a:pathLst>
          </a:custGeom>
          <a:solidFill>
            <a:srgbClr val="FFFFFF">
              <a:alpha val="30196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9" name="Text Placeholder 210"/>
          <p:cNvSpPr>
            <a:spLocks noGrp="1"/>
          </p:cNvSpPr>
          <p:nvPr>
            <p:ph type="body" sz="quarter" idx="20" hasCustomPrompt="1"/>
          </p:nvPr>
        </p:nvSpPr>
        <p:spPr>
          <a:xfrm>
            <a:off x="4722223" y="3181441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40" name="Text Placeholder 210"/>
          <p:cNvSpPr>
            <a:spLocks noGrp="1"/>
          </p:cNvSpPr>
          <p:nvPr>
            <p:ph type="body" sz="quarter" idx="21" hasCustomPrompt="1"/>
          </p:nvPr>
        </p:nvSpPr>
        <p:spPr>
          <a:xfrm>
            <a:off x="6929821" y="3181441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257534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Freeform 5">
            <a:hlinkClick r:id="" action="ppaction://noaction"/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646136" y="2191200"/>
            <a:ext cx="1326586" cy="1112893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4" name="Freeform 6">
            <a:hlinkClick r:id="" action="ppaction://noaction"/>
          </p:cNvPr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6747348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7" name="Freeform 4">
            <a:hlinkClick r:id="" action="ppaction://noaction"/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547156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1" name="Text Placeholder 2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22077" y="2002363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3" name="Text Placeholder 21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931877" y="2011424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4" name="Text Placeholder 2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26977" y="2602916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ext</a:t>
            </a:r>
          </a:p>
        </p:txBody>
      </p:sp>
      <p:sp>
        <p:nvSpPr>
          <p:cNvPr id="57" name="Freeform 4">
            <a:hlinkClick r:id="" action="ppaction://noaction"/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641813" y="1017287"/>
            <a:ext cx="1324354" cy="1115286"/>
          </a:xfrm>
          <a:prstGeom prst="hexagon">
            <a:avLst/>
          </a:prstGeom>
          <a:solidFill>
            <a:srgbClr val="FFFFFF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9" name="Text Placeholder 21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872001" y="1017673"/>
            <a:ext cx="1944000" cy="3448050"/>
          </a:xfrm>
          <a:prstGeom prst="roundRect">
            <a:avLst>
              <a:gd name="adj" fmla="val 8804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0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5pPr marL="1828800" indent="0">
              <a:buNone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69" name="AutoShape 15"/>
          <p:cNvSpPr>
            <a:spLocks noChangeArrowheads="1"/>
          </p:cNvSpPr>
          <p:nvPr userDrawn="1"/>
        </p:nvSpPr>
        <p:spPr bwMode="gray">
          <a:xfrm>
            <a:off x="1450536" y="4790804"/>
            <a:ext cx="1568573" cy="283857"/>
          </a:xfrm>
          <a:prstGeom prst="homePlate">
            <a:avLst>
              <a:gd name="adj" fmla="val 30359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Pre-Clinical</a:t>
            </a:r>
          </a:p>
        </p:txBody>
      </p:sp>
      <p:sp>
        <p:nvSpPr>
          <p:cNvPr id="70" name="AutoShape 16"/>
          <p:cNvSpPr>
            <a:spLocks noChangeArrowheads="1"/>
          </p:cNvSpPr>
          <p:nvPr userDrawn="1"/>
        </p:nvSpPr>
        <p:spPr bwMode="gray">
          <a:xfrm>
            <a:off x="2894108" y="4790804"/>
            <a:ext cx="1568900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Early Clinical Dev.</a:t>
            </a:r>
          </a:p>
        </p:txBody>
      </p:sp>
      <p:sp>
        <p:nvSpPr>
          <p:cNvPr id="71" name="AutoShape 16"/>
          <p:cNvSpPr>
            <a:spLocks noChangeArrowheads="1"/>
          </p:cNvSpPr>
          <p:nvPr userDrawn="1"/>
        </p:nvSpPr>
        <p:spPr bwMode="gray">
          <a:xfrm>
            <a:off x="4337680" y="4790804"/>
            <a:ext cx="1546032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Late Clinical Dev.</a:t>
            </a:r>
          </a:p>
        </p:txBody>
      </p:sp>
      <p:sp>
        <p:nvSpPr>
          <p:cNvPr id="72" name="AutoShape 16"/>
          <p:cNvSpPr>
            <a:spLocks noChangeArrowheads="1"/>
          </p:cNvSpPr>
          <p:nvPr userDrawn="1"/>
        </p:nvSpPr>
        <p:spPr bwMode="gray">
          <a:xfrm>
            <a:off x="5781253" y="4790804"/>
            <a:ext cx="1546359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Registration</a:t>
            </a:r>
          </a:p>
        </p:txBody>
      </p:sp>
      <p:sp>
        <p:nvSpPr>
          <p:cNvPr id="73" name="AutoShape 16"/>
          <p:cNvSpPr>
            <a:spLocks noChangeArrowheads="1"/>
          </p:cNvSpPr>
          <p:nvPr userDrawn="1"/>
        </p:nvSpPr>
        <p:spPr bwMode="gray">
          <a:xfrm>
            <a:off x="7224824" y="4790804"/>
            <a:ext cx="1836627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Launch &amp; Life Cyc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 flipH="1" flipV="1">
            <a:off x="1519964" y="4790804"/>
            <a:ext cx="7463184" cy="26497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</a:ln>
          <a:effectLst/>
        </p:spPr>
      </p:cxnSp>
      <p:grpSp>
        <p:nvGrpSpPr>
          <p:cNvPr id="75" name="Group 74"/>
          <p:cNvGrpSpPr/>
          <p:nvPr userDrawn="1"/>
        </p:nvGrpSpPr>
        <p:grpSpPr>
          <a:xfrm>
            <a:off x="29384" y="3349110"/>
            <a:ext cx="1723122" cy="1610005"/>
            <a:chOff x="29384" y="3349110"/>
            <a:chExt cx="1723122" cy="1610005"/>
          </a:xfrm>
        </p:grpSpPr>
        <p:sp>
          <p:nvSpPr>
            <p:cNvPr id="76" name="Rectangle 81"/>
            <p:cNvSpPr/>
            <p:nvPr userDrawn="1"/>
          </p:nvSpPr>
          <p:spPr>
            <a:xfrm>
              <a:off x="1243044" y="3352469"/>
              <a:ext cx="509462" cy="1606646"/>
            </a:xfrm>
            <a:custGeom>
              <a:avLst/>
              <a:gdLst>
                <a:gd name="connsiteX0" fmla="*/ 0 w 1224136"/>
                <a:gd name="connsiteY0" fmla="*/ 0 h 2159132"/>
                <a:gd name="connsiteX1" fmla="*/ 1224136 w 1224136"/>
                <a:gd name="connsiteY1" fmla="*/ 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528811 w 1224136"/>
                <a:gd name="connsiteY1" fmla="*/ 1281112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319261 w 1224136"/>
                <a:gd name="connsiteY1" fmla="*/ 194310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200025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1985963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33561 w 1224136"/>
                <a:gd name="connsiteY1" fmla="*/ 1857375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12262"/>
                <a:gd name="connsiteY0" fmla="*/ 0 h 2159132"/>
                <a:gd name="connsiteX1" fmla="*/ 433561 w 1212262"/>
                <a:gd name="connsiteY1" fmla="*/ 1857375 h 2159132"/>
                <a:gd name="connsiteX2" fmla="*/ 1212262 w 1212262"/>
                <a:gd name="connsiteY2" fmla="*/ 2058192 h 2159132"/>
                <a:gd name="connsiteX3" fmla="*/ 0 w 1212262"/>
                <a:gd name="connsiteY3" fmla="*/ 2159132 h 2159132"/>
                <a:gd name="connsiteX4" fmla="*/ 0 w 1212262"/>
                <a:gd name="connsiteY4" fmla="*/ 0 h 2159132"/>
                <a:gd name="connsiteX0" fmla="*/ 0 w 1230370"/>
                <a:gd name="connsiteY0" fmla="*/ 0 h 2159132"/>
                <a:gd name="connsiteX1" fmla="*/ 433561 w 1230370"/>
                <a:gd name="connsiteY1" fmla="*/ 1857375 h 2159132"/>
                <a:gd name="connsiteX2" fmla="*/ 1230370 w 1230370"/>
                <a:gd name="connsiteY2" fmla="*/ 2071772 h 2159132"/>
                <a:gd name="connsiteX3" fmla="*/ 0 w 1230370"/>
                <a:gd name="connsiteY3" fmla="*/ 2159132 h 2159132"/>
                <a:gd name="connsiteX4" fmla="*/ 0 w 1230370"/>
                <a:gd name="connsiteY4" fmla="*/ 0 h 2159132"/>
                <a:gd name="connsiteX0" fmla="*/ 0 w 1033212"/>
                <a:gd name="connsiteY0" fmla="*/ 0 h 2159132"/>
                <a:gd name="connsiteX1" fmla="*/ 433561 w 1033212"/>
                <a:gd name="connsiteY1" fmla="*/ 1857375 h 2159132"/>
                <a:gd name="connsiteX2" fmla="*/ 1033212 w 1033212"/>
                <a:gd name="connsiteY2" fmla="*/ 1900897 h 2159132"/>
                <a:gd name="connsiteX3" fmla="*/ 0 w 1033212"/>
                <a:gd name="connsiteY3" fmla="*/ 2159132 h 2159132"/>
                <a:gd name="connsiteX4" fmla="*/ 0 w 1033212"/>
                <a:gd name="connsiteY4" fmla="*/ 0 h 2159132"/>
                <a:gd name="connsiteX0" fmla="*/ 0 w 1042736"/>
                <a:gd name="connsiteY0" fmla="*/ 0 h 1795764"/>
                <a:gd name="connsiteX1" fmla="*/ 443085 w 1042736"/>
                <a:gd name="connsiteY1" fmla="*/ 1494007 h 1795764"/>
                <a:gd name="connsiteX2" fmla="*/ 1042736 w 1042736"/>
                <a:gd name="connsiteY2" fmla="*/ 1537529 h 1795764"/>
                <a:gd name="connsiteX3" fmla="*/ 9524 w 1042736"/>
                <a:gd name="connsiteY3" fmla="*/ 1795764 h 1795764"/>
                <a:gd name="connsiteX4" fmla="*/ 0 w 1042736"/>
                <a:gd name="connsiteY4" fmla="*/ 0 h 1795764"/>
                <a:gd name="connsiteX0" fmla="*/ 14624 w 1033546"/>
                <a:gd name="connsiteY0" fmla="*/ 0 h 1795764"/>
                <a:gd name="connsiteX1" fmla="*/ 433895 w 1033546"/>
                <a:gd name="connsiteY1" fmla="*/ 1494007 h 1795764"/>
                <a:gd name="connsiteX2" fmla="*/ 1033546 w 1033546"/>
                <a:gd name="connsiteY2" fmla="*/ 1537529 h 1795764"/>
                <a:gd name="connsiteX3" fmla="*/ 334 w 1033546"/>
                <a:gd name="connsiteY3" fmla="*/ 1795764 h 1795764"/>
                <a:gd name="connsiteX4" fmla="*/ 14624 w 1033546"/>
                <a:gd name="connsiteY4" fmla="*/ 0 h 1795764"/>
                <a:gd name="connsiteX0" fmla="*/ 0 w 1018922"/>
                <a:gd name="connsiteY0" fmla="*/ 0 h 1795764"/>
                <a:gd name="connsiteX1" fmla="*/ 419271 w 1018922"/>
                <a:gd name="connsiteY1" fmla="*/ 1494007 h 1795764"/>
                <a:gd name="connsiteX2" fmla="*/ 1018922 w 1018922"/>
                <a:gd name="connsiteY2" fmla="*/ 1537529 h 1795764"/>
                <a:gd name="connsiteX3" fmla="*/ 4760 w 1018922"/>
                <a:gd name="connsiteY3" fmla="*/ 1795764 h 1795764"/>
                <a:gd name="connsiteX4" fmla="*/ 0 w 1018922"/>
                <a:gd name="connsiteY4" fmla="*/ 0 h 1795764"/>
                <a:gd name="connsiteX0" fmla="*/ 0 w 1018922"/>
                <a:gd name="connsiteY0" fmla="*/ 0 h 1714451"/>
                <a:gd name="connsiteX1" fmla="*/ 419271 w 1018922"/>
                <a:gd name="connsiteY1" fmla="*/ 1494007 h 1714451"/>
                <a:gd name="connsiteX2" fmla="*/ 1018922 w 1018922"/>
                <a:gd name="connsiteY2" fmla="*/ 1537529 h 1714451"/>
                <a:gd name="connsiteX3" fmla="*/ 9522 w 1018922"/>
                <a:gd name="connsiteY3" fmla="*/ 1714451 h 1714451"/>
                <a:gd name="connsiteX4" fmla="*/ 0 w 1018922"/>
                <a:gd name="connsiteY4" fmla="*/ 0 h 171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922" h="1714451">
                  <a:moveTo>
                    <a:pt x="0" y="0"/>
                  </a:moveTo>
                  <a:lnTo>
                    <a:pt x="419271" y="1494007"/>
                  </a:lnTo>
                  <a:lnTo>
                    <a:pt x="1018922" y="1537529"/>
                  </a:lnTo>
                  <a:lnTo>
                    <a:pt x="9522" y="1714451"/>
                  </a:lnTo>
                  <a:cubicBezTo>
                    <a:pt x="6347" y="1115863"/>
                    <a:pt x="3175" y="598588"/>
                    <a:pt x="0" y="0"/>
                  </a:cubicBezTo>
                  <a:close/>
                </a:path>
              </a:pathLst>
            </a:custGeom>
            <a:solidFill>
              <a:srgbClr val="000346"/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9384" y="3349110"/>
              <a:ext cx="1224136" cy="337401"/>
            </a:xfrm>
            <a:prstGeom prst="rect">
              <a:avLst/>
            </a:prstGeom>
            <a:solidFill>
              <a:srgbClr val="000346"/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Regulatory</a:t>
              </a:r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29384" y="3686511"/>
            <a:ext cx="1722901" cy="1230421"/>
            <a:chOff x="29384" y="3686511"/>
            <a:chExt cx="1722901" cy="1230421"/>
          </a:xfrm>
        </p:grpSpPr>
        <p:sp>
          <p:nvSpPr>
            <p:cNvPr id="79" name="Rectangle 72"/>
            <p:cNvSpPr/>
            <p:nvPr userDrawn="1"/>
          </p:nvSpPr>
          <p:spPr>
            <a:xfrm>
              <a:off x="1242649" y="3686856"/>
              <a:ext cx="509636" cy="1230076"/>
            </a:xfrm>
            <a:custGeom>
              <a:avLst/>
              <a:gdLst>
                <a:gd name="connsiteX0" fmla="*/ 0 w 1224136"/>
                <a:gd name="connsiteY0" fmla="*/ 0 h 1799092"/>
                <a:gd name="connsiteX1" fmla="*/ 1224136 w 1224136"/>
                <a:gd name="connsiteY1" fmla="*/ 0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57361 w 1224136"/>
                <a:gd name="connsiteY1" fmla="*/ 1609725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62124 w 1224136"/>
                <a:gd name="connsiteY1" fmla="*/ 1519238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15084"/>
                <a:gd name="connsiteY0" fmla="*/ 0 h 1799092"/>
                <a:gd name="connsiteX1" fmla="*/ 362124 w 1215084"/>
                <a:gd name="connsiteY1" fmla="*/ 1519238 h 1799092"/>
                <a:gd name="connsiteX2" fmla="*/ 1215084 w 1215084"/>
                <a:gd name="connsiteY2" fmla="*/ 1708557 h 1799092"/>
                <a:gd name="connsiteX3" fmla="*/ 0 w 1215084"/>
                <a:gd name="connsiteY3" fmla="*/ 1799092 h 1799092"/>
                <a:gd name="connsiteX4" fmla="*/ 0 w 1215084"/>
                <a:gd name="connsiteY4" fmla="*/ 0 h 1799092"/>
                <a:gd name="connsiteX0" fmla="*/ 0 w 1038322"/>
                <a:gd name="connsiteY0" fmla="*/ 0 h 1799092"/>
                <a:gd name="connsiteX1" fmla="*/ 362124 w 1038322"/>
                <a:gd name="connsiteY1" fmla="*/ 1519238 h 1799092"/>
                <a:gd name="connsiteX2" fmla="*/ 1038322 w 1038322"/>
                <a:gd name="connsiteY2" fmla="*/ 1546675 h 1799092"/>
                <a:gd name="connsiteX3" fmla="*/ 0 w 1038322"/>
                <a:gd name="connsiteY3" fmla="*/ 1799092 h 1799092"/>
                <a:gd name="connsiteX4" fmla="*/ 0 w 1038322"/>
                <a:gd name="connsiteY4" fmla="*/ 0 h 1799092"/>
                <a:gd name="connsiteX0" fmla="*/ 14286 w 1038322"/>
                <a:gd name="connsiteY0" fmla="*/ 0 h 1773325"/>
                <a:gd name="connsiteX1" fmla="*/ 362124 w 1038322"/>
                <a:gd name="connsiteY1" fmla="*/ 1493471 h 1773325"/>
                <a:gd name="connsiteX2" fmla="*/ 1038322 w 1038322"/>
                <a:gd name="connsiteY2" fmla="*/ 1520908 h 1773325"/>
                <a:gd name="connsiteX3" fmla="*/ 0 w 1038322"/>
                <a:gd name="connsiteY3" fmla="*/ 1773325 h 1773325"/>
                <a:gd name="connsiteX4" fmla="*/ 14286 w 1038322"/>
                <a:gd name="connsiteY4" fmla="*/ 0 h 1773325"/>
                <a:gd name="connsiteX0" fmla="*/ 4762 w 1028798"/>
                <a:gd name="connsiteY0" fmla="*/ 0 h 1663815"/>
                <a:gd name="connsiteX1" fmla="*/ 352600 w 1028798"/>
                <a:gd name="connsiteY1" fmla="*/ 1493471 h 1663815"/>
                <a:gd name="connsiteX2" fmla="*/ 1028798 w 1028798"/>
                <a:gd name="connsiteY2" fmla="*/ 1520908 h 1663815"/>
                <a:gd name="connsiteX3" fmla="*/ 0 w 1028798"/>
                <a:gd name="connsiteY3" fmla="*/ 1663815 h 1663815"/>
                <a:gd name="connsiteX4" fmla="*/ 4762 w 1028798"/>
                <a:gd name="connsiteY4" fmla="*/ 0 h 1663815"/>
                <a:gd name="connsiteX0" fmla="*/ 4762 w 1019272"/>
                <a:gd name="connsiteY0" fmla="*/ 0 h 1663815"/>
                <a:gd name="connsiteX1" fmla="*/ 352600 w 1019272"/>
                <a:gd name="connsiteY1" fmla="*/ 1493471 h 1663815"/>
                <a:gd name="connsiteX2" fmla="*/ 1019272 w 1019272"/>
                <a:gd name="connsiteY2" fmla="*/ 1495140 h 1663815"/>
                <a:gd name="connsiteX3" fmla="*/ 0 w 1019272"/>
                <a:gd name="connsiteY3" fmla="*/ 1663815 h 1663815"/>
                <a:gd name="connsiteX4" fmla="*/ 4762 w 1019272"/>
                <a:gd name="connsiteY4" fmla="*/ 0 h 166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272" h="1663815">
                  <a:moveTo>
                    <a:pt x="4762" y="0"/>
                  </a:moveTo>
                  <a:lnTo>
                    <a:pt x="352600" y="1493471"/>
                  </a:lnTo>
                  <a:lnTo>
                    <a:pt x="1019272" y="1495140"/>
                  </a:lnTo>
                  <a:lnTo>
                    <a:pt x="0" y="1663815"/>
                  </a:lnTo>
                  <a:cubicBezTo>
                    <a:pt x="1587" y="1109210"/>
                    <a:pt x="3175" y="554605"/>
                    <a:pt x="4762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29384" y="3686511"/>
              <a:ext cx="1224136" cy="33740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MC &amp; Quality</a:t>
              </a:r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29384" y="4024151"/>
            <a:ext cx="1731500" cy="923057"/>
            <a:chOff x="29384" y="4024151"/>
            <a:chExt cx="1731500" cy="923057"/>
          </a:xfrm>
        </p:grpSpPr>
        <p:sp>
          <p:nvSpPr>
            <p:cNvPr id="82" name="Rectangle 74"/>
            <p:cNvSpPr/>
            <p:nvPr userDrawn="1"/>
          </p:nvSpPr>
          <p:spPr>
            <a:xfrm>
              <a:off x="1251139" y="4026532"/>
              <a:ext cx="509745" cy="920676"/>
            </a:xfrm>
            <a:custGeom>
              <a:avLst/>
              <a:gdLst>
                <a:gd name="connsiteX0" fmla="*/ 0 w 1224136"/>
                <a:gd name="connsiteY0" fmla="*/ 0 h 1079012"/>
                <a:gd name="connsiteX1" fmla="*/ 1224136 w 1224136"/>
                <a:gd name="connsiteY1" fmla="*/ 0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90588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979424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033778"/>
                <a:gd name="connsiteY0" fmla="*/ 0 h 1079012"/>
                <a:gd name="connsiteX1" fmla="*/ 214486 w 1033778"/>
                <a:gd name="connsiteY1" fmla="*/ 866776 h 1079012"/>
                <a:gd name="connsiteX2" fmla="*/ 1033778 w 1033778"/>
                <a:gd name="connsiteY2" fmla="*/ 817544 h 1079012"/>
                <a:gd name="connsiteX3" fmla="*/ 0 w 1033778"/>
                <a:gd name="connsiteY3" fmla="*/ 1079012 h 1079012"/>
                <a:gd name="connsiteX4" fmla="*/ 0 w 1033778"/>
                <a:gd name="connsiteY4" fmla="*/ 0 h 1079012"/>
                <a:gd name="connsiteX0" fmla="*/ 14288 w 1033778"/>
                <a:gd name="connsiteY0" fmla="*/ 0 h 1076471"/>
                <a:gd name="connsiteX1" fmla="*/ 214486 w 1033778"/>
                <a:gd name="connsiteY1" fmla="*/ 864235 h 1076471"/>
                <a:gd name="connsiteX2" fmla="*/ 1033778 w 1033778"/>
                <a:gd name="connsiteY2" fmla="*/ 815003 h 1076471"/>
                <a:gd name="connsiteX3" fmla="*/ 0 w 1033778"/>
                <a:gd name="connsiteY3" fmla="*/ 1076471 h 1076471"/>
                <a:gd name="connsiteX4" fmla="*/ 14288 w 1033778"/>
                <a:gd name="connsiteY4" fmla="*/ 0 h 1076471"/>
                <a:gd name="connsiteX0" fmla="*/ 0 w 1019490"/>
                <a:gd name="connsiteY0" fmla="*/ 0 h 982452"/>
                <a:gd name="connsiteX1" fmla="*/ 200198 w 1019490"/>
                <a:gd name="connsiteY1" fmla="*/ 864235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  <a:gd name="connsiteX0" fmla="*/ 0 w 1019490"/>
                <a:gd name="connsiteY0" fmla="*/ 0 h 982452"/>
                <a:gd name="connsiteX1" fmla="*/ 219248 w 1019490"/>
                <a:gd name="connsiteY1" fmla="*/ 854070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490" h="982452">
                  <a:moveTo>
                    <a:pt x="0" y="0"/>
                  </a:moveTo>
                  <a:lnTo>
                    <a:pt x="219248" y="854070"/>
                  </a:lnTo>
                  <a:lnTo>
                    <a:pt x="1019490" y="815003"/>
                  </a:lnTo>
                  <a:lnTo>
                    <a:pt x="9524" y="982452"/>
                  </a:lnTo>
                  <a:cubicBezTo>
                    <a:pt x="6349" y="654968"/>
                    <a:pt x="3175" y="32748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Rectangle 82"/>
            <p:cNvSpPr/>
            <p:nvPr userDrawn="1"/>
          </p:nvSpPr>
          <p:spPr>
            <a:xfrm>
              <a:off x="29384" y="4024151"/>
              <a:ext cx="1224136" cy="33740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linical trial management</a:t>
              </a:r>
            </a:p>
          </p:txBody>
        </p:sp>
      </p:grpSp>
      <p:grpSp>
        <p:nvGrpSpPr>
          <p:cNvPr id="84" name="Group 83"/>
          <p:cNvGrpSpPr/>
          <p:nvPr userDrawn="1"/>
        </p:nvGrpSpPr>
        <p:grpSpPr>
          <a:xfrm>
            <a:off x="29385" y="4359169"/>
            <a:ext cx="1722877" cy="652529"/>
            <a:chOff x="29385" y="4359169"/>
            <a:chExt cx="1722877" cy="652529"/>
          </a:xfrm>
        </p:grpSpPr>
        <p:sp>
          <p:nvSpPr>
            <p:cNvPr id="85" name="Rectangle 76"/>
            <p:cNvSpPr/>
            <p:nvPr userDrawn="1"/>
          </p:nvSpPr>
          <p:spPr>
            <a:xfrm>
              <a:off x="1241265" y="4359169"/>
              <a:ext cx="510997" cy="602325"/>
            </a:xfrm>
            <a:custGeom>
              <a:avLst/>
              <a:gdLst>
                <a:gd name="connsiteX0" fmla="*/ 0 w 1224136"/>
                <a:gd name="connsiteY0" fmla="*/ 0 h 718972"/>
                <a:gd name="connsiteX1" fmla="*/ 1224136 w 1224136"/>
                <a:gd name="connsiteY1" fmla="*/ 0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24136"/>
                <a:gd name="connsiteY0" fmla="*/ 0 h 718972"/>
                <a:gd name="connsiteX1" fmla="*/ 143048 w 1224136"/>
                <a:gd name="connsiteY1" fmla="*/ 542925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15082"/>
                <a:gd name="connsiteY0" fmla="*/ 0 h 718972"/>
                <a:gd name="connsiteX1" fmla="*/ 143048 w 1215082"/>
                <a:gd name="connsiteY1" fmla="*/ 542925 h 718972"/>
                <a:gd name="connsiteX2" fmla="*/ 1215082 w 1215082"/>
                <a:gd name="connsiteY2" fmla="*/ 623910 h 718972"/>
                <a:gd name="connsiteX3" fmla="*/ 0 w 1215082"/>
                <a:gd name="connsiteY3" fmla="*/ 718972 h 718972"/>
                <a:gd name="connsiteX4" fmla="*/ 0 w 1215082"/>
                <a:gd name="connsiteY4" fmla="*/ 0 h 718972"/>
                <a:gd name="connsiteX0" fmla="*/ 0 w 1031522"/>
                <a:gd name="connsiteY0" fmla="*/ 0 h 718972"/>
                <a:gd name="connsiteX1" fmla="*/ 143048 w 1031522"/>
                <a:gd name="connsiteY1" fmla="*/ 542925 h 718972"/>
                <a:gd name="connsiteX2" fmla="*/ 1031522 w 1031522"/>
                <a:gd name="connsiteY2" fmla="*/ 462029 h 718972"/>
                <a:gd name="connsiteX3" fmla="*/ 0 w 1031522"/>
                <a:gd name="connsiteY3" fmla="*/ 718972 h 718972"/>
                <a:gd name="connsiteX4" fmla="*/ 0 w 1031522"/>
                <a:gd name="connsiteY4" fmla="*/ 0 h 718972"/>
                <a:gd name="connsiteX0" fmla="*/ 9526 w 1031522"/>
                <a:gd name="connsiteY0" fmla="*/ 0 h 716430"/>
                <a:gd name="connsiteX1" fmla="*/ 143048 w 1031522"/>
                <a:gd name="connsiteY1" fmla="*/ 540383 h 716430"/>
                <a:gd name="connsiteX2" fmla="*/ 1031522 w 1031522"/>
                <a:gd name="connsiteY2" fmla="*/ 459487 h 716430"/>
                <a:gd name="connsiteX3" fmla="*/ 0 w 1031522"/>
                <a:gd name="connsiteY3" fmla="*/ 716430 h 716430"/>
                <a:gd name="connsiteX4" fmla="*/ 9526 w 1031522"/>
                <a:gd name="connsiteY4" fmla="*/ 0 h 716430"/>
                <a:gd name="connsiteX0" fmla="*/ 0 w 1021996"/>
                <a:gd name="connsiteY0" fmla="*/ 0 h 637658"/>
                <a:gd name="connsiteX1" fmla="*/ 133522 w 1021996"/>
                <a:gd name="connsiteY1" fmla="*/ 540383 h 637658"/>
                <a:gd name="connsiteX2" fmla="*/ 1021996 w 1021996"/>
                <a:gd name="connsiteY2" fmla="*/ 459487 h 637658"/>
                <a:gd name="connsiteX3" fmla="*/ 9524 w 1021996"/>
                <a:gd name="connsiteY3" fmla="*/ 637658 h 637658"/>
                <a:gd name="connsiteX4" fmla="*/ 0 w 1021996"/>
                <a:gd name="connsiteY4" fmla="*/ 0 h 637658"/>
                <a:gd name="connsiteX0" fmla="*/ 0 w 1021996"/>
                <a:gd name="connsiteY0" fmla="*/ 0 h 642741"/>
                <a:gd name="connsiteX1" fmla="*/ 133522 w 1021996"/>
                <a:gd name="connsiteY1" fmla="*/ 545466 h 642741"/>
                <a:gd name="connsiteX2" fmla="*/ 1021996 w 1021996"/>
                <a:gd name="connsiteY2" fmla="*/ 464570 h 642741"/>
                <a:gd name="connsiteX3" fmla="*/ 9524 w 1021996"/>
                <a:gd name="connsiteY3" fmla="*/ 642741 h 642741"/>
                <a:gd name="connsiteX4" fmla="*/ 0 w 1021996"/>
                <a:gd name="connsiteY4" fmla="*/ 0 h 6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996" h="642741">
                  <a:moveTo>
                    <a:pt x="0" y="0"/>
                  </a:moveTo>
                  <a:lnTo>
                    <a:pt x="133522" y="545466"/>
                  </a:lnTo>
                  <a:lnTo>
                    <a:pt x="1021996" y="464570"/>
                  </a:lnTo>
                  <a:lnTo>
                    <a:pt x="9524" y="6427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86" name="Straight Connector 85"/>
            <p:cNvCxnSpPr/>
            <p:nvPr userDrawn="1"/>
          </p:nvCxnSpPr>
          <p:spPr>
            <a:xfrm flipH="1" flipV="1">
              <a:off x="1238711" y="4842999"/>
              <a:ext cx="5284" cy="168699"/>
            </a:xfrm>
            <a:prstGeom prst="lin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</p:cxnSp>
        <p:sp>
          <p:nvSpPr>
            <p:cNvPr id="87" name="Rectangle 86"/>
            <p:cNvSpPr/>
            <p:nvPr userDrawn="1"/>
          </p:nvSpPr>
          <p:spPr>
            <a:xfrm>
              <a:off x="29385" y="4361552"/>
              <a:ext cx="1224136" cy="33636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Safety &amp; Vigilance</a:t>
              </a:r>
            </a:p>
          </p:txBody>
        </p:sp>
      </p:grpSp>
      <p:grpSp>
        <p:nvGrpSpPr>
          <p:cNvPr id="88" name="Group 87"/>
          <p:cNvGrpSpPr/>
          <p:nvPr userDrawn="1"/>
        </p:nvGrpSpPr>
        <p:grpSpPr>
          <a:xfrm>
            <a:off x="29384" y="4697913"/>
            <a:ext cx="1729229" cy="337402"/>
            <a:chOff x="29384" y="4697913"/>
            <a:chExt cx="1729229" cy="337402"/>
          </a:xfrm>
        </p:grpSpPr>
        <p:sp>
          <p:nvSpPr>
            <p:cNvPr id="89" name="Rectangle 79"/>
            <p:cNvSpPr/>
            <p:nvPr userDrawn="1"/>
          </p:nvSpPr>
          <p:spPr>
            <a:xfrm>
              <a:off x="1248758" y="4697913"/>
              <a:ext cx="509855" cy="337402"/>
            </a:xfrm>
            <a:custGeom>
              <a:avLst/>
              <a:gdLst>
                <a:gd name="connsiteX0" fmla="*/ 0 w 1224136"/>
                <a:gd name="connsiteY0" fmla="*/ 0 h 360040"/>
                <a:gd name="connsiteX1" fmla="*/ 1224136 w 1224136"/>
                <a:gd name="connsiteY1" fmla="*/ 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71611 w 1224136"/>
                <a:gd name="connsiteY1" fmla="*/ 17145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81136 w 1224136"/>
                <a:gd name="connsiteY1" fmla="*/ 238125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33190"/>
                <a:gd name="connsiteY0" fmla="*/ 0 h 360040"/>
                <a:gd name="connsiteX1" fmla="*/ 81136 w 1233190"/>
                <a:gd name="connsiteY1" fmla="*/ 238125 h 360040"/>
                <a:gd name="connsiteX2" fmla="*/ 1233190 w 1233190"/>
                <a:gd name="connsiteY2" fmla="*/ 274032 h 360040"/>
                <a:gd name="connsiteX3" fmla="*/ 0 w 1233190"/>
                <a:gd name="connsiteY3" fmla="*/ 360040 h 360040"/>
                <a:gd name="connsiteX4" fmla="*/ 0 w 1233190"/>
                <a:gd name="connsiteY4" fmla="*/ 0 h 360040"/>
                <a:gd name="connsiteX0" fmla="*/ 0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0 w 1029234"/>
                <a:gd name="connsiteY4" fmla="*/ 0 h 360040"/>
                <a:gd name="connsiteX0" fmla="*/ 9526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9526 w 1029234"/>
                <a:gd name="connsiteY4" fmla="*/ 0 h 360040"/>
                <a:gd name="connsiteX0" fmla="*/ 2 w 1019710"/>
                <a:gd name="connsiteY0" fmla="*/ 0 h 357499"/>
                <a:gd name="connsiteX1" fmla="*/ 71612 w 1019710"/>
                <a:gd name="connsiteY1" fmla="*/ 238125 h 357499"/>
                <a:gd name="connsiteX2" fmla="*/ 1019710 w 1019710"/>
                <a:gd name="connsiteY2" fmla="*/ 103157 h 357499"/>
                <a:gd name="connsiteX3" fmla="*/ 0 w 1019710"/>
                <a:gd name="connsiteY3" fmla="*/ 357499 h 357499"/>
                <a:gd name="connsiteX4" fmla="*/ 2 w 1019710"/>
                <a:gd name="connsiteY4" fmla="*/ 0 h 35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710" h="357499">
                  <a:moveTo>
                    <a:pt x="2" y="0"/>
                  </a:moveTo>
                  <a:lnTo>
                    <a:pt x="71612" y="238125"/>
                  </a:lnTo>
                  <a:lnTo>
                    <a:pt x="1019710" y="103157"/>
                  </a:lnTo>
                  <a:lnTo>
                    <a:pt x="0" y="357499"/>
                  </a:lnTo>
                  <a:cubicBezTo>
                    <a:pt x="1" y="238333"/>
                    <a:pt x="1" y="119166"/>
                    <a:pt x="2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0" name="Rectangle 89"/>
            <p:cNvSpPr/>
            <p:nvPr userDrawn="1"/>
          </p:nvSpPr>
          <p:spPr>
            <a:xfrm>
              <a:off x="29384" y="4697914"/>
              <a:ext cx="1224136" cy="33740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Market Access</a:t>
              </a:r>
            </a:p>
          </p:txBody>
        </p:sp>
      </p:grpSp>
      <p:sp>
        <p:nvSpPr>
          <p:cNvPr id="170" name="Rectangle 33"/>
          <p:cNvSpPr/>
          <p:nvPr userDrawn="1"/>
        </p:nvSpPr>
        <p:spPr>
          <a:xfrm>
            <a:off x="1" y="2557332"/>
            <a:ext cx="9143999" cy="2574710"/>
          </a:xfrm>
          <a:custGeom>
            <a:avLst/>
            <a:gdLst>
              <a:gd name="connsiteX0" fmla="*/ 0 w 9139395"/>
              <a:gd name="connsiteY0" fmla="*/ 0 h 2558962"/>
              <a:gd name="connsiteX1" fmla="*/ 9139395 w 9139395"/>
              <a:gd name="connsiteY1" fmla="*/ 0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0 h 2558962"/>
              <a:gd name="connsiteX1" fmla="*/ 1533249 w 9139395"/>
              <a:gd name="connsiteY1" fmla="*/ 2105891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43712 h 2602674"/>
              <a:gd name="connsiteX1" fmla="*/ 1450122 w 9139395"/>
              <a:gd name="connsiteY1" fmla="*/ 112563 h 2602674"/>
              <a:gd name="connsiteX2" fmla="*/ 1533249 w 9139395"/>
              <a:gd name="connsiteY2" fmla="*/ 2149603 h 2602674"/>
              <a:gd name="connsiteX3" fmla="*/ 9139395 w 9139395"/>
              <a:gd name="connsiteY3" fmla="*/ 2602674 h 2602674"/>
              <a:gd name="connsiteX4" fmla="*/ 0 w 9139395"/>
              <a:gd name="connsiteY4" fmla="*/ 2602674 h 2602674"/>
              <a:gd name="connsiteX5" fmla="*/ 0 w 9139395"/>
              <a:gd name="connsiteY5" fmla="*/ 43712 h 2602674"/>
              <a:gd name="connsiteX0" fmla="*/ 0 w 9139395"/>
              <a:gd name="connsiteY0" fmla="*/ 0 h 2558962"/>
              <a:gd name="connsiteX1" fmla="*/ 1450122 w 9139395"/>
              <a:gd name="connsiteY1" fmla="*/ 68851 h 2558962"/>
              <a:gd name="connsiteX2" fmla="*/ 1533249 w 9139395"/>
              <a:gd name="connsiteY2" fmla="*/ 2105891 h 2558962"/>
              <a:gd name="connsiteX3" fmla="*/ 9139395 w 9139395"/>
              <a:gd name="connsiteY3" fmla="*/ 2558962 h 2558962"/>
              <a:gd name="connsiteX4" fmla="*/ 0 w 9139395"/>
              <a:gd name="connsiteY4" fmla="*/ 2558962 h 2558962"/>
              <a:gd name="connsiteX5" fmla="*/ 0 w 9139395"/>
              <a:gd name="connsiteY5" fmla="*/ 0 h 2558962"/>
              <a:gd name="connsiteX0" fmla="*/ 0 w 9139395"/>
              <a:gd name="connsiteY0" fmla="*/ 21735 h 2580697"/>
              <a:gd name="connsiteX1" fmla="*/ 1450122 w 9139395"/>
              <a:gd name="connsiteY1" fmla="*/ 7459 h 2580697"/>
              <a:gd name="connsiteX2" fmla="*/ 1533249 w 9139395"/>
              <a:gd name="connsiteY2" fmla="*/ 2127626 h 2580697"/>
              <a:gd name="connsiteX3" fmla="*/ 9139395 w 9139395"/>
              <a:gd name="connsiteY3" fmla="*/ 2580697 h 2580697"/>
              <a:gd name="connsiteX4" fmla="*/ 0 w 9139395"/>
              <a:gd name="connsiteY4" fmla="*/ 2580697 h 2580697"/>
              <a:gd name="connsiteX5" fmla="*/ 0 w 9139395"/>
              <a:gd name="connsiteY5" fmla="*/ 21735 h 2580697"/>
              <a:gd name="connsiteX0" fmla="*/ 0 w 9139395"/>
              <a:gd name="connsiteY0" fmla="*/ 24561 h 2583523"/>
              <a:gd name="connsiteX1" fmla="*/ 1450122 w 9139395"/>
              <a:gd name="connsiteY1" fmla="*/ 10285 h 2583523"/>
              <a:gd name="connsiteX2" fmla="*/ 1533249 w 9139395"/>
              <a:gd name="connsiteY2" fmla="*/ 2130452 h 2583523"/>
              <a:gd name="connsiteX3" fmla="*/ 9139395 w 9139395"/>
              <a:gd name="connsiteY3" fmla="*/ 2583523 h 2583523"/>
              <a:gd name="connsiteX4" fmla="*/ 0 w 9139395"/>
              <a:gd name="connsiteY4" fmla="*/ 2583523 h 2583523"/>
              <a:gd name="connsiteX5" fmla="*/ 0 w 9139395"/>
              <a:gd name="connsiteY5" fmla="*/ 24561 h 2583523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195383 h 2754345"/>
              <a:gd name="connsiteX1" fmla="*/ 1450122 w 9139395"/>
              <a:gd name="connsiteY1" fmla="*/ 181107 h 2754345"/>
              <a:gd name="connsiteX2" fmla="*/ 1533249 w 9139395"/>
              <a:gd name="connsiteY2" fmla="*/ 2301274 h 2754345"/>
              <a:gd name="connsiteX3" fmla="*/ 9139395 w 9139395"/>
              <a:gd name="connsiteY3" fmla="*/ 2754345 h 2754345"/>
              <a:gd name="connsiteX4" fmla="*/ 0 w 9139395"/>
              <a:gd name="connsiteY4" fmla="*/ 2754345 h 2754345"/>
              <a:gd name="connsiteX5" fmla="*/ 0 w 9139395"/>
              <a:gd name="connsiteY5" fmla="*/ 195383 h 2754345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574710 h 2574710"/>
              <a:gd name="connsiteX4" fmla="*/ 0 w 9139395"/>
              <a:gd name="connsiteY4" fmla="*/ 2574710 h 2574710"/>
              <a:gd name="connsiteX5" fmla="*/ 0 w 9139395"/>
              <a:gd name="connsiteY5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39395" h="2574710">
                <a:moveTo>
                  <a:pt x="0" y="15748"/>
                </a:moveTo>
                <a:cubicBezTo>
                  <a:pt x="1447033" y="2512"/>
                  <a:pt x="-21615" y="-2859"/>
                  <a:pt x="1450122" y="1472"/>
                </a:cubicBezTo>
                <a:lnTo>
                  <a:pt x="1533249" y="2121639"/>
                </a:lnTo>
                <a:lnTo>
                  <a:pt x="9139395" y="2107363"/>
                </a:lnTo>
                <a:lnTo>
                  <a:pt x="9139395" y="2574710"/>
                </a:lnTo>
                <a:lnTo>
                  <a:pt x="0" y="2574710"/>
                </a:lnTo>
                <a:lnTo>
                  <a:pt x="0" y="15748"/>
                </a:lnTo>
                <a:close/>
              </a:path>
            </a:pathLst>
          </a:custGeom>
          <a:solidFill>
            <a:srgbClr val="FFFFFF">
              <a:alpha val="30196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7" name="Text Placeholder 210"/>
          <p:cNvSpPr>
            <a:spLocks noGrp="1"/>
          </p:cNvSpPr>
          <p:nvPr>
            <p:ph type="body" sz="quarter" idx="18" hasCustomPrompt="1"/>
          </p:nvPr>
        </p:nvSpPr>
        <p:spPr>
          <a:xfrm>
            <a:off x="5828053" y="1444100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351327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Freeform 5">
            <a:hlinkClick r:id="" action="ppaction://noaction"/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5646136" y="2191200"/>
            <a:ext cx="1326586" cy="1112893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4" name="Freeform 6">
            <a:hlinkClick r:id="" action="ppaction://noaction"/>
          </p:cNvPr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6747348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137" name="Freeform 4">
            <a:hlinkClick r:id="" action="ppaction://noaction"/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4547156" y="1600283"/>
            <a:ext cx="1324354" cy="1115286"/>
          </a:xfrm>
          <a:prstGeom prst="hexagon">
            <a:avLst/>
          </a:prstGeom>
          <a:solidFill>
            <a:schemeClr val="bg1"/>
          </a:solidFill>
          <a:ln w="9525" cap="rnd" cmpd="sng">
            <a:solidFill>
              <a:schemeClr val="accent3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 anchorCtr="1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346"/>
              </a:solidFill>
              <a:effectLst/>
              <a:uLnTx/>
              <a:uFillTx/>
            </a:endParaRPr>
          </a:p>
        </p:txBody>
      </p:sp>
      <p:sp>
        <p:nvSpPr>
          <p:cNvPr id="211" name="Text Placeholder 2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22077" y="2002363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171450" indent="-171450" algn="ctr">
              <a:buFont typeface="Arial" panose="020B0604020202020204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3" name="Text Placeholder 21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931877" y="2011424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14" name="Text Placeholder 2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26977" y="2602916"/>
            <a:ext cx="971550" cy="304699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>
            <a:lvl1pPr marL="0" marR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ctr" defTabSz="7112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ext</a:t>
            </a:r>
          </a:p>
        </p:txBody>
      </p:sp>
      <p:sp>
        <p:nvSpPr>
          <p:cNvPr id="219" name="Text Placeholder 21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872001" y="1017673"/>
            <a:ext cx="1944000" cy="3448050"/>
          </a:xfrm>
          <a:prstGeom prst="roundRect">
            <a:avLst>
              <a:gd name="adj" fmla="val 8804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sz="10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5pPr marL="1828800" indent="0">
              <a:buNone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69" name="AutoShape 15"/>
          <p:cNvSpPr>
            <a:spLocks noChangeArrowheads="1"/>
          </p:cNvSpPr>
          <p:nvPr userDrawn="1"/>
        </p:nvSpPr>
        <p:spPr bwMode="gray">
          <a:xfrm>
            <a:off x="1450536" y="4790804"/>
            <a:ext cx="1568573" cy="283857"/>
          </a:xfrm>
          <a:prstGeom prst="homePlate">
            <a:avLst>
              <a:gd name="adj" fmla="val 30359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Pre-Clinical</a:t>
            </a:r>
          </a:p>
        </p:txBody>
      </p:sp>
      <p:sp>
        <p:nvSpPr>
          <p:cNvPr id="70" name="AutoShape 16"/>
          <p:cNvSpPr>
            <a:spLocks noChangeArrowheads="1"/>
          </p:cNvSpPr>
          <p:nvPr userDrawn="1"/>
        </p:nvSpPr>
        <p:spPr bwMode="gray">
          <a:xfrm>
            <a:off x="2894108" y="4790804"/>
            <a:ext cx="1568900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Early Clinical Dev.</a:t>
            </a:r>
          </a:p>
        </p:txBody>
      </p:sp>
      <p:sp>
        <p:nvSpPr>
          <p:cNvPr id="71" name="AutoShape 16"/>
          <p:cNvSpPr>
            <a:spLocks noChangeArrowheads="1"/>
          </p:cNvSpPr>
          <p:nvPr userDrawn="1"/>
        </p:nvSpPr>
        <p:spPr bwMode="gray">
          <a:xfrm>
            <a:off x="4337680" y="4790804"/>
            <a:ext cx="1546032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Late Clinical Dev.</a:t>
            </a:r>
          </a:p>
        </p:txBody>
      </p:sp>
      <p:sp>
        <p:nvSpPr>
          <p:cNvPr id="72" name="AutoShape 16"/>
          <p:cNvSpPr>
            <a:spLocks noChangeArrowheads="1"/>
          </p:cNvSpPr>
          <p:nvPr userDrawn="1"/>
        </p:nvSpPr>
        <p:spPr bwMode="gray">
          <a:xfrm>
            <a:off x="5781253" y="4790804"/>
            <a:ext cx="1546359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 Registration</a:t>
            </a:r>
          </a:p>
        </p:txBody>
      </p:sp>
      <p:sp>
        <p:nvSpPr>
          <p:cNvPr id="73" name="AutoShape 16"/>
          <p:cNvSpPr>
            <a:spLocks noChangeArrowheads="1"/>
          </p:cNvSpPr>
          <p:nvPr userDrawn="1"/>
        </p:nvSpPr>
        <p:spPr bwMode="gray">
          <a:xfrm>
            <a:off x="7224824" y="4790804"/>
            <a:ext cx="1836627" cy="283857"/>
          </a:xfrm>
          <a:prstGeom prst="chevron">
            <a:avLst>
              <a:gd name="adj" fmla="val 30294"/>
            </a:avLst>
          </a:prstGeom>
          <a:gradFill rotWithShape="1">
            <a:gsLst>
              <a:gs pos="0">
                <a:srgbClr val="E3E3E3"/>
              </a:gs>
              <a:gs pos="100000">
                <a:srgbClr val="B2B2B2"/>
              </a:gs>
            </a:gsLst>
            <a:lin ang="27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lIns="72000" tIns="90000" rIns="72000" bIns="9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1">
                <a:ln>
                  <a:noFill/>
                </a:ln>
                <a:solidFill>
                  <a:srgbClr val="8E8E8E">
                    <a:lumMod val="75000"/>
                  </a:srgbClr>
                </a:solidFill>
                <a:effectLst/>
                <a:uLnTx/>
                <a:uFillTx/>
              </a:rPr>
              <a:t>Launch &amp; Life Cyc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 flipH="1" flipV="1">
            <a:off x="1519964" y="4790804"/>
            <a:ext cx="7463184" cy="26497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</a:ln>
          <a:effectLst/>
        </p:spPr>
      </p:cxnSp>
      <p:grpSp>
        <p:nvGrpSpPr>
          <p:cNvPr id="75" name="Group 74"/>
          <p:cNvGrpSpPr/>
          <p:nvPr userDrawn="1"/>
        </p:nvGrpSpPr>
        <p:grpSpPr>
          <a:xfrm>
            <a:off x="29384" y="3349110"/>
            <a:ext cx="1723122" cy="1610005"/>
            <a:chOff x="29384" y="3349110"/>
            <a:chExt cx="1723122" cy="1610005"/>
          </a:xfrm>
        </p:grpSpPr>
        <p:sp>
          <p:nvSpPr>
            <p:cNvPr id="76" name="Rectangle 81"/>
            <p:cNvSpPr/>
            <p:nvPr userDrawn="1"/>
          </p:nvSpPr>
          <p:spPr>
            <a:xfrm>
              <a:off x="1243044" y="3352469"/>
              <a:ext cx="509462" cy="1606646"/>
            </a:xfrm>
            <a:custGeom>
              <a:avLst/>
              <a:gdLst>
                <a:gd name="connsiteX0" fmla="*/ 0 w 1224136"/>
                <a:gd name="connsiteY0" fmla="*/ 0 h 2159132"/>
                <a:gd name="connsiteX1" fmla="*/ 1224136 w 1224136"/>
                <a:gd name="connsiteY1" fmla="*/ 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528811 w 1224136"/>
                <a:gd name="connsiteY1" fmla="*/ 1281112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319261 w 1224136"/>
                <a:gd name="connsiteY1" fmla="*/ 194310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2000250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24036 w 1224136"/>
                <a:gd name="connsiteY1" fmla="*/ 1985963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24136"/>
                <a:gd name="connsiteY0" fmla="*/ 0 h 2159132"/>
                <a:gd name="connsiteX1" fmla="*/ 433561 w 1224136"/>
                <a:gd name="connsiteY1" fmla="*/ 1857375 h 2159132"/>
                <a:gd name="connsiteX2" fmla="*/ 1224136 w 1224136"/>
                <a:gd name="connsiteY2" fmla="*/ 2159132 h 2159132"/>
                <a:gd name="connsiteX3" fmla="*/ 0 w 1224136"/>
                <a:gd name="connsiteY3" fmla="*/ 2159132 h 2159132"/>
                <a:gd name="connsiteX4" fmla="*/ 0 w 1224136"/>
                <a:gd name="connsiteY4" fmla="*/ 0 h 2159132"/>
                <a:gd name="connsiteX0" fmla="*/ 0 w 1212262"/>
                <a:gd name="connsiteY0" fmla="*/ 0 h 2159132"/>
                <a:gd name="connsiteX1" fmla="*/ 433561 w 1212262"/>
                <a:gd name="connsiteY1" fmla="*/ 1857375 h 2159132"/>
                <a:gd name="connsiteX2" fmla="*/ 1212262 w 1212262"/>
                <a:gd name="connsiteY2" fmla="*/ 2058192 h 2159132"/>
                <a:gd name="connsiteX3" fmla="*/ 0 w 1212262"/>
                <a:gd name="connsiteY3" fmla="*/ 2159132 h 2159132"/>
                <a:gd name="connsiteX4" fmla="*/ 0 w 1212262"/>
                <a:gd name="connsiteY4" fmla="*/ 0 h 2159132"/>
                <a:gd name="connsiteX0" fmla="*/ 0 w 1230370"/>
                <a:gd name="connsiteY0" fmla="*/ 0 h 2159132"/>
                <a:gd name="connsiteX1" fmla="*/ 433561 w 1230370"/>
                <a:gd name="connsiteY1" fmla="*/ 1857375 h 2159132"/>
                <a:gd name="connsiteX2" fmla="*/ 1230370 w 1230370"/>
                <a:gd name="connsiteY2" fmla="*/ 2071772 h 2159132"/>
                <a:gd name="connsiteX3" fmla="*/ 0 w 1230370"/>
                <a:gd name="connsiteY3" fmla="*/ 2159132 h 2159132"/>
                <a:gd name="connsiteX4" fmla="*/ 0 w 1230370"/>
                <a:gd name="connsiteY4" fmla="*/ 0 h 2159132"/>
                <a:gd name="connsiteX0" fmla="*/ 0 w 1033212"/>
                <a:gd name="connsiteY0" fmla="*/ 0 h 2159132"/>
                <a:gd name="connsiteX1" fmla="*/ 433561 w 1033212"/>
                <a:gd name="connsiteY1" fmla="*/ 1857375 h 2159132"/>
                <a:gd name="connsiteX2" fmla="*/ 1033212 w 1033212"/>
                <a:gd name="connsiteY2" fmla="*/ 1900897 h 2159132"/>
                <a:gd name="connsiteX3" fmla="*/ 0 w 1033212"/>
                <a:gd name="connsiteY3" fmla="*/ 2159132 h 2159132"/>
                <a:gd name="connsiteX4" fmla="*/ 0 w 1033212"/>
                <a:gd name="connsiteY4" fmla="*/ 0 h 2159132"/>
                <a:gd name="connsiteX0" fmla="*/ 0 w 1042736"/>
                <a:gd name="connsiteY0" fmla="*/ 0 h 1795764"/>
                <a:gd name="connsiteX1" fmla="*/ 443085 w 1042736"/>
                <a:gd name="connsiteY1" fmla="*/ 1494007 h 1795764"/>
                <a:gd name="connsiteX2" fmla="*/ 1042736 w 1042736"/>
                <a:gd name="connsiteY2" fmla="*/ 1537529 h 1795764"/>
                <a:gd name="connsiteX3" fmla="*/ 9524 w 1042736"/>
                <a:gd name="connsiteY3" fmla="*/ 1795764 h 1795764"/>
                <a:gd name="connsiteX4" fmla="*/ 0 w 1042736"/>
                <a:gd name="connsiteY4" fmla="*/ 0 h 1795764"/>
                <a:gd name="connsiteX0" fmla="*/ 14624 w 1033546"/>
                <a:gd name="connsiteY0" fmla="*/ 0 h 1795764"/>
                <a:gd name="connsiteX1" fmla="*/ 433895 w 1033546"/>
                <a:gd name="connsiteY1" fmla="*/ 1494007 h 1795764"/>
                <a:gd name="connsiteX2" fmla="*/ 1033546 w 1033546"/>
                <a:gd name="connsiteY2" fmla="*/ 1537529 h 1795764"/>
                <a:gd name="connsiteX3" fmla="*/ 334 w 1033546"/>
                <a:gd name="connsiteY3" fmla="*/ 1795764 h 1795764"/>
                <a:gd name="connsiteX4" fmla="*/ 14624 w 1033546"/>
                <a:gd name="connsiteY4" fmla="*/ 0 h 1795764"/>
                <a:gd name="connsiteX0" fmla="*/ 0 w 1018922"/>
                <a:gd name="connsiteY0" fmla="*/ 0 h 1795764"/>
                <a:gd name="connsiteX1" fmla="*/ 419271 w 1018922"/>
                <a:gd name="connsiteY1" fmla="*/ 1494007 h 1795764"/>
                <a:gd name="connsiteX2" fmla="*/ 1018922 w 1018922"/>
                <a:gd name="connsiteY2" fmla="*/ 1537529 h 1795764"/>
                <a:gd name="connsiteX3" fmla="*/ 4760 w 1018922"/>
                <a:gd name="connsiteY3" fmla="*/ 1795764 h 1795764"/>
                <a:gd name="connsiteX4" fmla="*/ 0 w 1018922"/>
                <a:gd name="connsiteY4" fmla="*/ 0 h 1795764"/>
                <a:gd name="connsiteX0" fmla="*/ 0 w 1018922"/>
                <a:gd name="connsiteY0" fmla="*/ 0 h 1714451"/>
                <a:gd name="connsiteX1" fmla="*/ 419271 w 1018922"/>
                <a:gd name="connsiteY1" fmla="*/ 1494007 h 1714451"/>
                <a:gd name="connsiteX2" fmla="*/ 1018922 w 1018922"/>
                <a:gd name="connsiteY2" fmla="*/ 1537529 h 1714451"/>
                <a:gd name="connsiteX3" fmla="*/ 9522 w 1018922"/>
                <a:gd name="connsiteY3" fmla="*/ 1714451 h 1714451"/>
                <a:gd name="connsiteX4" fmla="*/ 0 w 1018922"/>
                <a:gd name="connsiteY4" fmla="*/ 0 h 1714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8922" h="1714451">
                  <a:moveTo>
                    <a:pt x="0" y="0"/>
                  </a:moveTo>
                  <a:lnTo>
                    <a:pt x="419271" y="1494007"/>
                  </a:lnTo>
                  <a:lnTo>
                    <a:pt x="1018922" y="1537529"/>
                  </a:lnTo>
                  <a:lnTo>
                    <a:pt x="9522" y="1714451"/>
                  </a:lnTo>
                  <a:cubicBezTo>
                    <a:pt x="6347" y="1115863"/>
                    <a:pt x="3175" y="598588"/>
                    <a:pt x="0" y="0"/>
                  </a:cubicBezTo>
                  <a:close/>
                </a:path>
              </a:pathLst>
            </a:custGeom>
            <a:solidFill>
              <a:srgbClr val="000346"/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9384" y="3349110"/>
              <a:ext cx="1224136" cy="337401"/>
            </a:xfrm>
            <a:prstGeom prst="rect">
              <a:avLst/>
            </a:prstGeom>
            <a:solidFill>
              <a:srgbClr val="000346"/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Regulatory</a:t>
              </a:r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29384" y="3686511"/>
            <a:ext cx="1722901" cy="1230421"/>
            <a:chOff x="29384" y="3686511"/>
            <a:chExt cx="1722901" cy="1230421"/>
          </a:xfrm>
        </p:grpSpPr>
        <p:sp>
          <p:nvSpPr>
            <p:cNvPr id="79" name="Rectangle 72"/>
            <p:cNvSpPr/>
            <p:nvPr userDrawn="1"/>
          </p:nvSpPr>
          <p:spPr>
            <a:xfrm>
              <a:off x="1242649" y="3686856"/>
              <a:ext cx="509636" cy="1230076"/>
            </a:xfrm>
            <a:custGeom>
              <a:avLst/>
              <a:gdLst>
                <a:gd name="connsiteX0" fmla="*/ 0 w 1224136"/>
                <a:gd name="connsiteY0" fmla="*/ 0 h 1799092"/>
                <a:gd name="connsiteX1" fmla="*/ 1224136 w 1224136"/>
                <a:gd name="connsiteY1" fmla="*/ 0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57361 w 1224136"/>
                <a:gd name="connsiteY1" fmla="*/ 1609725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24136"/>
                <a:gd name="connsiteY0" fmla="*/ 0 h 1799092"/>
                <a:gd name="connsiteX1" fmla="*/ 362124 w 1224136"/>
                <a:gd name="connsiteY1" fmla="*/ 1519238 h 1799092"/>
                <a:gd name="connsiteX2" fmla="*/ 1224136 w 1224136"/>
                <a:gd name="connsiteY2" fmla="*/ 1799092 h 1799092"/>
                <a:gd name="connsiteX3" fmla="*/ 0 w 1224136"/>
                <a:gd name="connsiteY3" fmla="*/ 1799092 h 1799092"/>
                <a:gd name="connsiteX4" fmla="*/ 0 w 1224136"/>
                <a:gd name="connsiteY4" fmla="*/ 0 h 1799092"/>
                <a:gd name="connsiteX0" fmla="*/ 0 w 1215084"/>
                <a:gd name="connsiteY0" fmla="*/ 0 h 1799092"/>
                <a:gd name="connsiteX1" fmla="*/ 362124 w 1215084"/>
                <a:gd name="connsiteY1" fmla="*/ 1519238 h 1799092"/>
                <a:gd name="connsiteX2" fmla="*/ 1215084 w 1215084"/>
                <a:gd name="connsiteY2" fmla="*/ 1708557 h 1799092"/>
                <a:gd name="connsiteX3" fmla="*/ 0 w 1215084"/>
                <a:gd name="connsiteY3" fmla="*/ 1799092 h 1799092"/>
                <a:gd name="connsiteX4" fmla="*/ 0 w 1215084"/>
                <a:gd name="connsiteY4" fmla="*/ 0 h 1799092"/>
                <a:gd name="connsiteX0" fmla="*/ 0 w 1038322"/>
                <a:gd name="connsiteY0" fmla="*/ 0 h 1799092"/>
                <a:gd name="connsiteX1" fmla="*/ 362124 w 1038322"/>
                <a:gd name="connsiteY1" fmla="*/ 1519238 h 1799092"/>
                <a:gd name="connsiteX2" fmla="*/ 1038322 w 1038322"/>
                <a:gd name="connsiteY2" fmla="*/ 1546675 h 1799092"/>
                <a:gd name="connsiteX3" fmla="*/ 0 w 1038322"/>
                <a:gd name="connsiteY3" fmla="*/ 1799092 h 1799092"/>
                <a:gd name="connsiteX4" fmla="*/ 0 w 1038322"/>
                <a:gd name="connsiteY4" fmla="*/ 0 h 1799092"/>
                <a:gd name="connsiteX0" fmla="*/ 14286 w 1038322"/>
                <a:gd name="connsiteY0" fmla="*/ 0 h 1773325"/>
                <a:gd name="connsiteX1" fmla="*/ 362124 w 1038322"/>
                <a:gd name="connsiteY1" fmla="*/ 1493471 h 1773325"/>
                <a:gd name="connsiteX2" fmla="*/ 1038322 w 1038322"/>
                <a:gd name="connsiteY2" fmla="*/ 1520908 h 1773325"/>
                <a:gd name="connsiteX3" fmla="*/ 0 w 1038322"/>
                <a:gd name="connsiteY3" fmla="*/ 1773325 h 1773325"/>
                <a:gd name="connsiteX4" fmla="*/ 14286 w 1038322"/>
                <a:gd name="connsiteY4" fmla="*/ 0 h 1773325"/>
                <a:gd name="connsiteX0" fmla="*/ 4762 w 1028798"/>
                <a:gd name="connsiteY0" fmla="*/ 0 h 1663815"/>
                <a:gd name="connsiteX1" fmla="*/ 352600 w 1028798"/>
                <a:gd name="connsiteY1" fmla="*/ 1493471 h 1663815"/>
                <a:gd name="connsiteX2" fmla="*/ 1028798 w 1028798"/>
                <a:gd name="connsiteY2" fmla="*/ 1520908 h 1663815"/>
                <a:gd name="connsiteX3" fmla="*/ 0 w 1028798"/>
                <a:gd name="connsiteY3" fmla="*/ 1663815 h 1663815"/>
                <a:gd name="connsiteX4" fmla="*/ 4762 w 1028798"/>
                <a:gd name="connsiteY4" fmla="*/ 0 h 1663815"/>
                <a:gd name="connsiteX0" fmla="*/ 4762 w 1019272"/>
                <a:gd name="connsiteY0" fmla="*/ 0 h 1663815"/>
                <a:gd name="connsiteX1" fmla="*/ 352600 w 1019272"/>
                <a:gd name="connsiteY1" fmla="*/ 1493471 h 1663815"/>
                <a:gd name="connsiteX2" fmla="*/ 1019272 w 1019272"/>
                <a:gd name="connsiteY2" fmla="*/ 1495140 h 1663815"/>
                <a:gd name="connsiteX3" fmla="*/ 0 w 1019272"/>
                <a:gd name="connsiteY3" fmla="*/ 1663815 h 1663815"/>
                <a:gd name="connsiteX4" fmla="*/ 4762 w 1019272"/>
                <a:gd name="connsiteY4" fmla="*/ 0 h 166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272" h="1663815">
                  <a:moveTo>
                    <a:pt x="4762" y="0"/>
                  </a:moveTo>
                  <a:lnTo>
                    <a:pt x="352600" y="1493471"/>
                  </a:lnTo>
                  <a:lnTo>
                    <a:pt x="1019272" y="1495140"/>
                  </a:lnTo>
                  <a:lnTo>
                    <a:pt x="0" y="1663815"/>
                  </a:lnTo>
                  <a:cubicBezTo>
                    <a:pt x="1587" y="1109210"/>
                    <a:pt x="3175" y="554605"/>
                    <a:pt x="4762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29384" y="3686511"/>
              <a:ext cx="1224136" cy="33740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MC &amp; Quality</a:t>
              </a:r>
            </a:p>
          </p:txBody>
        </p:sp>
      </p:grpSp>
      <p:grpSp>
        <p:nvGrpSpPr>
          <p:cNvPr id="81" name="Group 80"/>
          <p:cNvGrpSpPr/>
          <p:nvPr userDrawn="1"/>
        </p:nvGrpSpPr>
        <p:grpSpPr>
          <a:xfrm>
            <a:off x="29384" y="4024151"/>
            <a:ext cx="1731500" cy="923057"/>
            <a:chOff x="29384" y="4024151"/>
            <a:chExt cx="1731500" cy="923057"/>
          </a:xfrm>
        </p:grpSpPr>
        <p:sp>
          <p:nvSpPr>
            <p:cNvPr id="82" name="Rectangle 74"/>
            <p:cNvSpPr/>
            <p:nvPr userDrawn="1"/>
          </p:nvSpPr>
          <p:spPr>
            <a:xfrm>
              <a:off x="1251139" y="4026532"/>
              <a:ext cx="509745" cy="920676"/>
            </a:xfrm>
            <a:custGeom>
              <a:avLst/>
              <a:gdLst>
                <a:gd name="connsiteX0" fmla="*/ 0 w 1224136"/>
                <a:gd name="connsiteY0" fmla="*/ 0 h 1079012"/>
                <a:gd name="connsiteX1" fmla="*/ 1224136 w 1224136"/>
                <a:gd name="connsiteY1" fmla="*/ 0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90588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1079012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224136"/>
                <a:gd name="connsiteY0" fmla="*/ 0 h 1079012"/>
                <a:gd name="connsiteX1" fmla="*/ 214486 w 1224136"/>
                <a:gd name="connsiteY1" fmla="*/ 866776 h 1079012"/>
                <a:gd name="connsiteX2" fmla="*/ 1224136 w 1224136"/>
                <a:gd name="connsiteY2" fmla="*/ 979424 h 1079012"/>
                <a:gd name="connsiteX3" fmla="*/ 0 w 1224136"/>
                <a:gd name="connsiteY3" fmla="*/ 1079012 h 1079012"/>
                <a:gd name="connsiteX4" fmla="*/ 0 w 1224136"/>
                <a:gd name="connsiteY4" fmla="*/ 0 h 1079012"/>
                <a:gd name="connsiteX0" fmla="*/ 0 w 1033778"/>
                <a:gd name="connsiteY0" fmla="*/ 0 h 1079012"/>
                <a:gd name="connsiteX1" fmla="*/ 214486 w 1033778"/>
                <a:gd name="connsiteY1" fmla="*/ 866776 h 1079012"/>
                <a:gd name="connsiteX2" fmla="*/ 1033778 w 1033778"/>
                <a:gd name="connsiteY2" fmla="*/ 817544 h 1079012"/>
                <a:gd name="connsiteX3" fmla="*/ 0 w 1033778"/>
                <a:gd name="connsiteY3" fmla="*/ 1079012 h 1079012"/>
                <a:gd name="connsiteX4" fmla="*/ 0 w 1033778"/>
                <a:gd name="connsiteY4" fmla="*/ 0 h 1079012"/>
                <a:gd name="connsiteX0" fmla="*/ 14288 w 1033778"/>
                <a:gd name="connsiteY0" fmla="*/ 0 h 1076471"/>
                <a:gd name="connsiteX1" fmla="*/ 214486 w 1033778"/>
                <a:gd name="connsiteY1" fmla="*/ 864235 h 1076471"/>
                <a:gd name="connsiteX2" fmla="*/ 1033778 w 1033778"/>
                <a:gd name="connsiteY2" fmla="*/ 815003 h 1076471"/>
                <a:gd name="connsiteX3" fmla="*/ 0 w 1033778"/>
                <a:gd name="connsiteY3" fmla="*/ 1076471 h 1076471"/>
                <a:gd name="connsiteX4" fmla="*/ 14288 w 1033778"/>
                <a:gd name="connsiteY4" fmla="*/ 0 h 1076471"/>
                <a:gd name="connsiteX0" fmla="*/ 0 w 1019490"/>
                <a:gd name="connsiteY0" fmla="*/ 0 h 982452"/>
                <a:gd name="connsiteX1" fmla="*/ 200198 w 1019490"/>
                <a:gd name="connsiteY1" fmla="*/ 864235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  <a:gd name="connsiteX0" fmla="*/ 0 w 1019490"/>
                <a:gd name="connsiteY0" fmla="*/ 0 h 982452"/>
                <a:gd name="connsiteX1" fmla="*/ 219248 w 1019490"/>
                <a:gd name="connsiteY1" fmla="*/ 854070 h 982452"/>
                <a:gd name="connsiteX2" fmla="*/ 1019490 w 1019490"/>
                <a:gd name="connsiteY2" fmla="*/ 815003 h 982452"/>
                <a:gd name="connsiteX3" fmla="*/ 9524 w 1019490"/>
                <a:gd name="connsiteY3" fmla="*/ 982452 h 982452"/>
                <a:gd name="connsiteX4" fmla="*/ 0 w 1019490"/>
                <a:gd name="connsiteY4" fmla="*/ 0 h 98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490" h="982452">
                  <a:moveTo>
                    <a:pt x="0" y="0"/>
                  </a:moveTo>
                  <a:lnTo>
                    <a:pt x="219248" y="854070"/>
                  </a:lnTo>
                  <a:lnTo>
                    <a:pt x="1019490" y="815003"/>
                  </a:lnTo>
                  <a:lnTo>
                    <a:pt x="9524" y="982452"/>
                  </a:lnTo>
                  <a:cubicBezTo>
                    <a:pt x="6349" y="654968"/>
                    <a:pt x="3175" y="327484"/>
                    <a:pt x="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Rectangle 82"/>
            <p:cNvSpPr/>
            <p:nvPr userDrawn="1"/>
          </p:nvSpPr>
          <p:spPr>
            <a:xfrm>
              <a:off x="29384" y="4024151"/>
              <a:ext cx="1224136" cy="33740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Clinical trial management</a:t>
              </a:r>
            </a:p>
          </p:txBody>
        </p:sp>
      </p:grpSp>
      <p:grpSp>
        <p:nvGrpSpPr>
          <p:cNvPr id="84" name="Group 83"/>
          <p:cNvGrpSpPr/>
          <p:nvPr userDrawn="1"/>
        </p:nvGrpSpPr>
        <p:grpSpPr>
          <a:xfrm>
            <a:off x="29385" y="4359169"/>
            <a:ext cx="1722877" cy="652529"/>
            <a:chOff x="29385" y="4359169"/>
            <a:chExt cx="1722877" cy="652529"/>
          </a:xfrm>
        </p:grpSpPr>
        <p:sp>
          <p:nvSpPr>
            <p:cNvPr id="85" name="Rectangle 76"/>
            <p:cNvSpPr/>
            <p:nvPr userDrawn="1"/>
          </p:nvSpPr>
          <p:spPr>
            <a:xfrm>
              <a:off x="1241265" y="4359169"/>
              <a:ext cx="510997" cy="602325"/>
            </a:xfrm>
            <a:custGeom>
              <a:avLst/>
              <a:gdLst>
                <a:gd name="connsiteX0" fmla="*/ 0 w 1224136"/>
                <a:gd name="connsiteY0" fmla="*/ 0 h 718972"/>
                <a:gd name="connsiteX1" fmla="*/ 1224136 w 1224136"/>
                <a:gd name="connsiteY1" fmla="*/ 0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24136"/>
                <a:gd name="connsiteY0" fmla="*/ 0 h 718972"/>
                <a:gd name="connsiteX1" fmla="*/ 143048 w 1224136"/>
                <a:gd name="connsiteY1" fmla="*/ 542925 h 718972"/>
                <a:gd name="connsiteX2" fmla="*/ 1224136 w 1224136"/>
                <a:gd name="connsiteY2" fmla="*/ 718972 h 718972"/>
                <a:gd name="connsiteX3" fmla="*/ 0 w 1224136"/>
                <a:gd name="connsiteY3" fmla="*/ 718972 h 718972"/>
                <a:gd name="connsiteX4" fmla="*/ 0 w 1224136"/>
                <a:gd name="connsiteY4" fmla="*/ 0 h 718972"/>
                <a:gd name="connsiteX0" fmla="*/ 0 w 1215082"/>
                <a:gd name="connsiteY0" fmla="*/ 0 h 718972"/>
                <a:gd name="connsiteX1" fmla="*/ 143048 w 1215082"/>
                <a:gd name="connsiteY1" fmla="*/ 542925 h 718972"/>
                <a:gd name="connsiteX2" fmla="*/ 1215082 w 1215082"/>
                <a:gd name="connsiteY2" fmla="*/ 623910 h 718972"/>
                <a:gd name="connsiteX3" fmla="*/ 0 w 1215082"/>
                <a:gd name="connsiteY3" fmla="*/ 718972 h 718972"/>
                <a:gd name="connsiteX4" fmla="*/ 0 w 1215082"/>
                <a:gd name="connsiteY4" fmla="*/ 0 h 718972"/>
                <a:gd name="connsiteX0" fmla="*/ 0 w 1031522"/>
                <a:gd name="connsiteY0" fmla="*/ 0 h 718972"/>
                <a:gd name="connsiteX1" fmla="*/ 143048 w 1031522"/>
                <a:gd name="connsiteY1" fmla="*/ 542925 h 718972"/>
                <a:gd name="connsiteX2" fmla="*/ 1031522 w 1031522"/>
                <a:gd name="connsiteY2" fmla="*/ 462029 h 718972"/>
                <a:gd name="connsiteX3" fmla="*/ 0 w 1031522"/>
                <a:gd name="connsiteY3" fmla="*/ 718972 h 718972"/>
                <a:gd name="connsiteX4" fmla="*/ 0 w 1031522"/>
                <a:gd name="connsiteY4" fmla="*/ 0 h 718972"/>
                <a:gd name="connsiteX0" fmla="*/ 9526 w 1031522"/>
                <a:gd name="connsiteY0" fmla="*/ 0 h 716430"/>
                <a:gd name="connsiteX1" fmla="*/ 143048 w 1031522"/>
                <a:gd name="connsiteY1" fmla="*/ 540383 h 716430"/>
                <a:gd name="connsiteX2" fmla="*/ 1031522 w 1031522"/>
                <a:gd name="connsiteY2" fmla="*/ 459487 h 716430"/>
                <a:gd name="connsiteX3" fmla="*/ 0 w 1031522"/>
                <a:gd name="connsiteY3" fmla="*/ 716430 h 716430"/>
                <a:gd name="connsiteX4" fmla="*/ 9526 w 1031522"/>
                <a:gd name="connsiteY4" fmla="*/ 0 h 716430"/>
                <a:gd name="connsiteX0" fmla="*/ 0 w 1021996"/>
                <a:gd name="connsiteY0" fmla="*/ 0 h 637658"/>
                <a:gd name="connsiteX1" fmla="*/ 133522 w 1021996"/>
                <a:gd name="connsiteY1" fmla="*/ 540383 h 637658"/>
                <a:gd name="connsiteX2" fmla="*/ 1021996 w 1021996"/>
                <a:gd name="connsiteY2" fmla="*/ 459487 h 637658"/>
                <a:gd name="connsiteX3" fmla="*/ 9524 w 1021996"/>
                <a:gd name="connsiteY3" fmla="*/ 637658 h 637658"/>
                <a:gd name="connsiteX4" fmla="*/ 0 w 1021996"/>
                <a:gd name="connsiteY4" fmla="*/ 0 h 637658"/>
                <a:gd name="connsiteX0" fmla="*/ 0 w 1021996"/>
                <a:gd name="connsiteY0" fmla="*/ 0 h 642741"/>
                <a:gd name="connsiteX1" fmla="*/ 133522 w 1021996"/>
                <a:gd name="connsiteY1" fmla="*/ 545466 h 642741"/>
                <a:gd name="connsiteX2" fmla="*/ 1021996 w 1021996"/>
                <a:gd name="connsiteY2" fmla="*/ 464570 h 642741"/>
                <a:gd name="connsiteX3" fmla="*/ 9524 w 1021996"/>
                <a:gd name="connsiteY3" fmla="*/ 642741 h 642741"/>
                <a:gd name="connsiteX4" fmla="*/ 0 w 1021996"/>
                <a:gd name="connsiteY4" fmla="*/ 0 h 642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1996" h="642741">
                  <a:moveTo>
                    <a:pt x="0" y="0"/>
                  </a:moveTo>
                  <a:lnTo>
                    <a:pt x="133522" y="545466"/>
                  </a:lnTo>
                  <a:lnTo>
                    <a:pt x="1021996" y="464570"/>
                  </a:lnTo>
                  <a:lnTo>
                    <a:pt x="9524" y="6427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cxnSp>
          <p:nvCxnSpPr>
            <p:cNvPr id="86" name="Straight Connector 85"/>
            <p:cNvCxnSpPr/>
            <p:nvPr userDrawn="1"/>
          </p:nvCxnSpPr>
          <p:spPr>
            <a:xfrm flipH="1" flipV="1">
              <a:off x="1238711" y="4842999"/>
              <a:ext cx="5284" cy="168699"/>
            </a:xfrm>
            <a:prstGeom prst="lin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</p:cxnSp>
        <p:sp>
          <p:nvSpPr>
            <p:cNvPr id="87" name="Rectangle 86"/>
            <p:cNvSpPr/>
            <p:nvPr userDrawn="1"/>
          </p:nvSpPr>
          <p:spPr>
            <a:xfrm>
              <a:off x="29385" y="4361552"/>
              <a:ext cx="1224136" cy="33636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Safety &amp; Vigilance</a:t>
              </a:r>
            </a:p>
          </p:txBody>
        </p:sp>
      </p:grpSp>
      <p:grpSp>
        <p:nvGrpSpPr>
          <p:cNvPr id="88" name="Group 87"/>
          <p:cNvGrpSpPr/>
          <p:nvPr userDrawn="1"/>
        </p:nvGrpSpPr>
        <p:grpSpPr>
          <a:xfrm>
            <a:off x="29384" y="4697913"/>
            <a:ext cx="1729229" cy="337402"/>
            <a:chOff x="29384" y="4697913"/>
            <a:chExt cx="1729229" cy="337402"/>
          </a:xfrm>
        </p:grpSpPr>
        <p:sp>
          <p:nvSpPr>
            <p:cNvPr id="89" name="Rectangle 79"/>
            <p:cNvSpPr/>
            <p:nvPr userDrawn="1"/>
          </p:nvSpPr>
          <p:spPr>
            <a:xfrm>
              <a:off x="1248758" y="4697913"/>
              <a:ext cx="509855" cy="337402"/>
            </a:xfrm>
            <a:custGeom>
              <a:avLst/>
              <a:gdLst>
                <a:gd name="connsiteX0" fmla="*/ 0 w 1224136"/>
                <a:gd name="connsiteY0" fmla="*/ 0 h 360040"/>
                <a:gd name="connsiteX1" fmla="*/ 1224136 w 1224136"/>
                <a:gd name="connsiteY1" fmla="*/ 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71611 w 1224136"/>
                <a:gd name="connsiteY1" fmla="*/ 171450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24136"/>
                <a:gd name="connsiteY0" fmla="*/ 0 h 360040"/>
                <a:gd name="connsiteX1" fmla="*/ 81136 w 1224136"/>
                <a:gd name="connsiteY1" fmla="*/ 238125 h 360040"/>
                <a:gd name="connsiteX2" fmla="*/ 1224136 w 1224136"/>
                <a:gd name="connsiteY2" fmla="*/ 360040 h 360040"/>
                <a:gd name="connsiteX3" fmla="*/ 0 w 1224136"/>
                <a:gd name="connsiteY3" fmla="*/ 360040 h 360040"/>
                <a:gd name="connsiteX4" fmla="*/ 0 w 1224136"/>
                <a:gd name="connsiteY4" fmla="*/ 0 h 360040"/>
                <a:gd name="connsiteX0" fmla="*/ 0 w 1233190"/>
                <a:gd name="connsiteY0" fmla="*/ 0 h 360040"/>
                <a:gd name="connsiteX1" fmla="*/ 81136 w 1233190"/>
                <a:gd name="connsiteY1" fmla="*/ 238125 h 360040"/>
                <a:gd name="connsiteX2" fmla="*/ 1233190 w 1233190"/>
                <a:gd name="connsiteY2" fmla="*/ 274032 h 360040"/>
                <a:gd name="connsiteX3" fmla="*/ 0 w 1233190"/>
                <a:gd name="connsiteY3" fmla="*/ 360040 h 360040"/>
                <a:gd name="connsiteX4" fmla="*/ 0 w 1233190"/>
                <a:gd name="connsiteY4" fmla="*/ 0 h 360040"/>
                <a:gd name="connsiteX0" fmla="*/ 0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0 w 1029234"/>
                <a:gd name="connsiteY4" fmla="*/ 0 h 360040"/>
                <a:gd name="connsiteX0" fmla="*/ 9526 w 1029234"/>
                <a:gd name="connsiteY0" fmla="*/ 0 h 360040"/>
                <a:gd name="connsiteX1" fmla="*/ 81136 w 1029234"/>
                <a:gd name="connsiteY1" fmla="*/ 238125 h 360040"/>
                <a:gd name="connsiteX2" fmla="*/ 1029234 w 1029234"/>
                <a:gd name="connsiteY2" fmla="*/ 103157 h 360040"/>
                <a:gd name="connsiteX3" fmla="*/ 0 w 1029234"/>
                <a:gd name="connsiteY3" fmla="*/ 360040 h 360040"/>
                <a:gd name="connsiteX4" fmla="*/ 9526 w 1029234"/>
                <a:gd name="connsiteY4" fmla="*/ 0 h 360040"/>
                <a:gd name="connsiteX0" fmla="*/ 2 w 1019710"/>
                <a:gd name="connsiteY0" fmla="*/ 0 h 357499"/>
                <a:gd name="connsiteX1" fmla="*/ 71612 w 1019710"/>
                <a:gd name="connsiteY1" fmla="*/ 238125 h 357499"/>
                <a:gd name="connsiteX2" fmla="*/ 1019710 w 1019710"/>
                <a:gd name="connsiteY2" fmla="*/ 103157 h 357499"/>
                <a:gd name="connsiteX3" fmla="*/ 0 w 1019710"/>
                <a:gd name="connsiteY3" fmla="*/ 357499 h 357499"/>
                <a:gd name="connsiteX4" fmla="*/ 2 w 1019710"/>
                <a:gd name="connsiteY4" fmla="*/ 0 h 357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710" h="357499">
                  <a:moveTo>
                    <a:pt x="2" y="0"/>
                  </a:moveTo>
                  <a:lnTo>
                    <a:pt x="71612" y="238125"/>
                  </a:lnTo>
                  <a:lnTo>
                    <a:pt x="1019710" y="103157"/>
                  </a:lnTo>
                  <a:lnTo>
                    <a:pt x="0" y="357499"/>
                  </a:lnTo>
                  <a:cubicBezTo>
                    <a:pt x="1" y="238333"/>
                    <a:pt x="1" y="119166"/>
                    <a:pt x="2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0" name="Rectangle 89"/>
            <p:cNvSpPr/>
            <p:nvPr userDrawn="1"/>
          </p:nvSpPr>
          <p:spPr>
            <a:xfrm>
              <a:off x="29384" y="4697914"/>
              <a:ext cx="1224136" cy="33740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rPr>
                <a:t>Market Access</a:t>
              </a:r>
            </a:p>
          </p:txBody>
        </p:sp>
      </p:grpSp>
      <p:sp>
        <p:nvSpPr>
          <p:cNvPr id="170" name="Rectangle 33"/>
          <p:cNvSpPr/>
          <p:nvPr userDrawn="1"/>
        </p:nvSpPr>
        <p:spPr>
          <a:xfrm>
            <a:off x="1" y="2557332"/>
            <a:ext cx="9143999" cy="2574710"/>
          </a:xfrm>
          <a:custGeom>
            <a:avLst/>
            <a:gdLst>
              <a:gd name="connsiteX0" fmla="*/ 0 w 9139395"/>
              <a:gd name="connsiteY0" fmla="*/ 0 h 2558962"/>
              <a:gd name="connsiteX1" fmla="*/ 9139395 w 9139395"/>
              <a:gd name="connsiteY1" fmla="*/ 0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0 h 2558962"/>
              <a:gd name="connsiteX1" fmla="*/ 1533249 w 9139395"/>
              <a:gd name="connsiteY1" fmla="*/ 2105891 h 2558962"/>
              <a:gd name="connsiteX2" fmla="*/ 9139395 w 9139395"/>
              <a:gd name="connsiteY2" fmla="*/ 2558962 h 2558962"/>
              <a:gd name="connsiteX3" fmla="*/ 0 w 9139395"/>
              <a:gd name="connsiteY3" fmla="*/ 2558962 h 2558962"/>
              <a:gd name="connsiteX4" fmla="*/ 0 w 9139395"/>
              <a:gd name="connsiteY4" fmla="*/ 0 h 2558962"/>
              <a:gd name="connsiteX0" fmla="*/ 0 w 9139395"/>
              <a:gd name="connsiteY0" fmla="*/ 43712 h 2602674"/>
              <a:gd name="connsiteX1" fmla="*/ 1450122 w 9139395"/>
              <a:gd name="connsiteY1" fmla="*/ 112563 h 2602674"/>
              <a:gd name="connsiteX2" fmla="*/ 1533249 w 9139395"/>
              <a:gd name="connsiteY2" fmla="*/ 2149603 h 2602674"/>
              <a:gd name="connsiteX3" fmla="*/ 9139395 w 9139395"/>
              <a:gd name="connsiteY3" fmla="*/ 2602674 h 2602674"/>
              <a:gd name="connsiteX4" fmla="*/ 0 w 9139395"/>
              <a:gd name="connsiteY4" fmla="*/ 2602674 h 2602674"/>
              <a:gd name="connsiteX5" fmla="*/ 0 w 9139395"/>
              <a:gd name="connsiteY5" fmla="*/ 43712 h 2602674"/>
              <a:gd name="connsiteX0" fmla="*/ 0 w 9139395"/>
              <a:gd name="connsiteY0" fmla="*/ 0 h 2558962"/>
              <a:gd name="connsiteX1" fmla="*/ 1450122 w 9139395"/>
              <a:gd name="connsiteY1" fmla="*/ 68851 h 2558962"/>
              <a:gd name="connsiteX2" fmla="*/ 1533249 w 9139395"/>
              <a:gd name="connsiteY2" fmla="*/ 2105891 h 2558962"/>
              <a:gd name="connsiteX3" fmla="*/ 9139395 w 9139395"/>
              <a:gd name="connsiteY3" fmla="*/ 2558962 h 2558962"/>
              <a:gd name="connsiteX4" fmla="*/ 0 w 9139395"/>
              <a:gd name="connsiteY4" fmla="*/ 2558962 h 2558962"/>
              <a:gd name="connsiteX5" fmla="*/ 0 w 9139395"/>
              <a:gd name="connsiteY5" fmla="*/ 0 h 2558962"/>
              <a:gd name="connsiteX0" fmla="*/ 0 w 9139395"/>
              <a:gd name="connsiteY0" fmla="*/ 21735 h 2580697"/>
              <a:gd name="connsiteX1" fmla="*/ 1450122 w 9139395"/>
              <a:gd name="connsiteY1" fmla="*/ 7459 h 2580697"/>
              <a:gd name="connsiteX2" fmla="*/ 1533249 w 9139395"/>
              <a:gd name="connsiteY2" fmla="*/ 2127626 h 2580697"/>
              <a:gd name="connsiteX3" fmla="*/ 9139395 w 9139395"/>
              <a:gd name="connsiteY3" fmla="*/ 2580697 h 2580697"/>
              <a:gd name="connsiteX4" fmla="*/ 0 w 9139395"/>
              <a:gd name="connsiteY4" fmla="*/ 2580697 h 2580697"/>
              <a:gd name="connsiteX5" fmla="*/ 0 w 9139395"/>
              <a:gd name="connsiteY5" fmla="*/ 21735 h 2580697"/>
              <a:gd name="connsiteX0" fmla="*/ 0 w 9139395"/>
              <a:gd name="connsiteY0" fmla="*/ 24561 h 2583523"/>
              <a:gd name="connsiteX1" fmla="*/ 1450122 w 9139395"/>
              <a:gd name="connsiteY1" fmla="*/ 10285 h 2583523"/>
              <a:gd name="connsiteX2" fmla="*/ 1533249 w 9139395"/>
              <a:gd name="connsiteY2" fmla="*/ 2130452 h 2583523"/>
              <a:gd name="connsiteX3" fmla="*/ 9139395 w 9139395"/>
              <a:gd name="connsiteY3" fmla="*/ 2583523 h 2583523"/>
              <a:gd name="connsiteX4" fmla="*/ 0 w 9139395"/>
              <a:gd name="connsiteY4" fmla="*/ 2583523 h 2583523"/>
              <a:gd name="connsiteX5" fmla="*/ 0 w 9139395"/>
              <a:gd name="connsiteY5" fmla="*/ 24561 h 2583523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330770 h 2889732"/>
              <a:gd name="connsiteX1" fmla="*/ 1450122 w 9139395"/>
              <a:gd name="connsiteY1" fmla="*/ 316494 h 2889732"/>
              <a:gd name="connsiteX2" fmla="*/ 1533249 w 9139395"/>
              <a:gd name="connsiteY2" fmla="*/ 2436661 h 2889732"/>
              <a:gd name="connsiteX3" fmla="*/ 9139395 w 9139395"/>
              <a:gd name="connsiteY3" fmla="*/ 2889732 h 2889732"/>
              <a:gd name="connsiteX4" fmla="*/ 0 w 9139395"/>
              <a:gd name="connsiteY4" fmla="*/ 2889732 h 2889732"/>
              <a:gd name="connsiteX5" fmla="*/ 0 w 9139395"/>
              <a:gd name="connsiteY5" fmla="*/ 330770 h 2889732"/>
              <a:gd name="connsiteX0" fmla="*/ 0 w 9139395"/>
              <a:gd name="connsiteY0" fmla="*/ 195383 h 2754345"/>
              <a:gd name="connsiteX1" fmla="*/ 1450122 w 9139395"/>
              <a:gd name="connsiteY1" fmla="*/ 181107 h 2754345"/>
              <a:gd name="connsiteX2" fmla="*/ 1533249 w 9139395"/>
              <a:gd name="connsiteY2" fmla="*/ 2301274 h 2754345"/>
              <a:gd name="connsiteX3" fmla="*/ 9139395 w 9139395"/>
              <a:gd name="connsiteY3" fmla="*/ 2754345 h 2754345"/>
              <a:gd name="connsiteX4" fmla="*/ 0 w 9139395"/>
              <a:gd name="connsiteY4" fmla="*/ 2754345 h 2754345"/>
              <a:gd name="connsiteX5" fmla="*/ 0 w 9139395"/>
              <a:gd name="connsiteY5" fmla="*/ 195383 h 2754345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574710 h 2574710"/>
              <a:gd name="connsiteX4" fmla="*/ 0 w 9139395"/>
              <a:gd name="connsiteY4" fmla="*/ 2574710 h 2574710"/>
              <a:gd name="connsiteX5" fmla="*/ 0 w 9139395"/>
              <a:gd name="connsiteY5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  <a:gd name="connsiteX0" fmla="*/ 0 w 9139395"/>
              <a:gd name="connsiteY0" fmla="*/ 15748 h 2574710"/>
              <a:gd name="connsiteX1" fmla="*/ 1450122 w 9139395"/>
              <a:gd name="connsiteY1" fmla="*/ 1472 h 2574710"/>
              <a:gd name="connsiteX2" fmla="*/ 1533249 w 9139395"/>
              <a:gd name="connsiteY2" fmla="*/ 2121639 h 2574710"/>
              <a:gd name="connsiteX3" fmla="*/ 9139395 w 9139395"/>
              <a:gd name="connsiteY3" fmla="*/ 2107363 h 2574710"/>
              <a:gd name="connsiteX4" fmla="*/ 9139395 w 9139395"/>
              <a:gd name="connsiteY4" fmla="*/ 2574710 h 2574710"/>
              <a:gd name="connsiteX5" fmla="*/ 0 w 9139395"/>
              <a:gd name="connsiteY5" fmla="*/ 2574710 h 2574710"/>
              <a:gd name="connsiteX6" fmla="*/ 0 w 9139395"/>
              <a:gd name="connsiteY6" fmla="*/ 15748 h 25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39395" h="2574710">
                <a:moveTo>
                  <a:pt x="0" y="15748"/>
                </a:moveTo>
                <a:cubicBezTo>
                  <a:pt x="1447033" y="2512"/>
                  <a:pt x="-21615" y="-2859"/>
                  <a:pt x="1450122" y="1472"/>
                </a:cubicBezTo>
                <a:lnTo>
                  <a:pt x="1533249" y="2121639"/>
                </a:lnTo>
                <a:lnTo>
                  <a:pt x="9139395" y="2107363"/>
                </a:lnTo>
                <a:lnTo>
                  <a:pt x="9139395" y="2574710"/>
                </a:lnTo>
                <a:lnTo>
                  <a:pt x="0" y="2574710"/>
                </a:lnTo>
                <a:lnTo>
                  <a:pt x="0" y="15748"/>
                </a:lnTo>
                <a:close/>
              </a:path>
            </a:pathLst>
          </a:custGeom>
          <a:solidFill>
            <a:srgbClr val="FFFFFF">
              <a:alpha val="30196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7695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872000" y="-284"/>
            <a:ext cx="7274143" cy="3776684"/>
          </a:xfrm>
          <a:prstGeom prst="rect">
            <a:avLst/>
          </a:prstGeom>
          <a:gradFill flip="none" rotWithShape="1">
            <a:gsLst>
              <a:gs pos="100000">
                <a:srgbClr val="8E8E8E"/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0" rtlCol="0" anchor="b"/>
          <a:lstStyle/>
          <a:p>
            <a:pPr lvl="0"/>
            <a:endParaRPr lang="en-US" sz="4000" b="1"/>
          </a:p>
        </p:txBody>
      </p:sp>
      <p:sp>
        <p:nvSpPr>
          <p:cNvPr id="10" name="Rectangle 9"/>
          <p:cNvSpPr/>
          <p:nvPr userDrawn="1"/>
        </p:nvSpPr>
        <p:spPr>
          <a:xfrm>
            <a:off x="0" y="4532399"/>
            <a:ext cx="1800000" cy="6111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800000" cy="377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872000" y="4532400"/>
            <a:ext cx="7273594" cy="611102"/>
          </a:xfrm>
          <a:prstGeom prst="rect">
            <a:avLst/>
          </a:prstGeom>
          <a:solidFill>
            <a:schemeClr val="accent1"/>
          </a:solidFill>
        </p:spPr>
        <p:txBody>
          <a:bodyPr lIns="72000" tIns="72000" rIns="72000" bIns="72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872000" y="3848400"/>
            <a:ext cx="7272006" cy="611999"/>
          </a:xfrm>
          <a:prstGeom prst="rect">
            <a:avLst/>
          </a:prstGeom>
          <a:solidFill>
            <a:schemeClr val="accent3"/>
          </a:solidFill>
        </p:spPr>
        <p:txBody>
          <a:bodyPr lIns="72000" tIns="72000" rIns="72000" bIns="72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ection header</a:t>
            </a:r>
          </a:p>
        </p:txBody>
      </p:sp>
      <p:pic>
        <p:nvPicPr>
          <p:cNvPr id="22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67" y="3848399"/>
            <a:ext cx="1245805" cy="608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7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Rectangle 40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Rectangle 46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7" name="Group 66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68" name="Straight Connector 67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ctangle 90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2" name="Rectangle 91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93" name="Straight Connector 92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95" name="Rectangle 94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96" name="Group 95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97" name="Straight Connector 96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Rectangle 119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21" name="Group 120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122" name="Straight Connector 121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166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168" name="Straight Connector 167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32540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71999" y="1537020"/>
            <a:ext cx="9000001" cy="874711"/>
          </a:xfrm>
          <a:prstGeom prst="rect">
            <a:avLst/>
          </a:prstGeom>
          <a:solidFill>
            <a:schemeClr val="bg1"/>
          </a:solidFill>
          <a:ln w="3175">
            <a:solidFill>
              <a:srgbClr val="D3D5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76200" y="742950"/>
            <a:ext cx="685800" cy="12232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0" name="TextBox 49"/>
          <p:cNvSpPr txBox="1"/>
          <p:nvPr userDrawn="1"/>
        </p:nvSpPr>
        <p:spPr>
          <a:xfrm>
            <a:off x="76197" y="1537020"/>
            <a:ext cx="1021121" cy="8747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Value delivered to clien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531" y="436730"/>
            <a:ext cx="648000" cy="2635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31562" y="71999"/>
            <a:ext cx="1432854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2000" b="0" i="0" u="none" strike="noStrike" baseline="0">
                <a:solidFill>
                  <a:srgbClr val="08206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se Study:</a:t>
            </a:r>
            <a:endParaRPr lang="en-US" sz="1600" b="0">
              <a:solidFill>
                <a:srgbClr val="08206E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4651466" y="684000"/>
            <a:ext cx="534147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ent: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643846" y="968948"/>
            <a:ext cx="686970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h. area: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49948" y="1262740"/>
            <a:ext cx="559360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Market: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2148840" y="71999"/>
            <a:ext cx="6923160" cy="360000"/>
          </a:xfrm>
          <a:prstGeom prst="rect">
            <a:avLst/>
          </a:prstGeom>
          <a:noFill/>
          <a:ln>
            <a:noFill/>
          </a:ln>
        </p:spPr>
        <p:txBody>
          <a:bodyPr wrap="square" lIns="72000" tIns="0" rIns="0" bIns="0" anchor="ctr">
            <a:noAutofit/>
          </a:bodyPr>
          <a:lstStyle>
            <a:lvl1pPr marL="342900" indent="-342900">
              <a:buNone/>
              <a:defRPr lang="en-US" sz="2000" b="0" i="0" u="none" strike="noStrike" kern="1200" baseline="0" dirty="0" smtClean="0">
                <a:solidFill>
                  <a:srgbClr val="08206E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 hasCustomPrompt="1"/>
          </p:nvPr>
        </p:nvSpPr>
        <p:spPr>
          <a:xfrm>
            <a:off x="5287202" y="684000"/>
            <a:ext cx="3780000" cy="183702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0" rIns="0" bIns="0" anchor="ctr">
            <a:normAutofit/>
          </a:bodyPr>
          <a:lstStyle>
            <a:lvl1pPr marL="171450" indent="-171450">
              <a:buFont typeface="Arial" panose="020B0604020202020204" pitchFamily="34" charset="0"/>
              <a:buNone/>
              <a:def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/>
              <a:t>Click to add text</a:t>
            </a:r>
          </a:p>
        </p:txBody>
      </p:sp>
      <p:sp>
        <p:nvSpPr>
          <p:cNvPr id="2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5292677" y="968948"/>
            <a:ext cx="3780000" cy="185500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0" rIns="0" bIns="0" anchor="ctr">
            <a:normAutofit/>
          </a:bodyPr>
          <a:lstStyle>
            <a:lvl1pPr marL="171450" indent="-171450">
              <a:buFont typeface="Arial" panose="020B0604020202020204" pitchFamily="34" charset="0"/>
              <a:buNone/>
              <a:def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  <p:sp>
        <p:nvSpPr>
          <p:cNvPr id="25" name="Text Placehold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5293123" y="1262740"/>
            <a:ext cx="3780000" cy="18370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0" rIns="0" bIns="0" anchor="ctr">
            <a:normAutofit/>
          </a:bodyPr>
          <a:lstStyle>
            <a:lvl1pPr marL="171450" indent="-171450">
              <a:buFont typeface="Arial" panose="020B0604020202020204" pitchFamily="34" charset="0"/>
              <a:buNone/>
              <a:def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/>
              <a:t>Click to add text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91489" y="965034"/>
            <a:ext cx="838200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just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noProof="0"/>
              <a:t>Challenge:</a:t>
            </a:r>
          </a:p>
        </p:txBody>
      </p:sp>
      <p:sp>
        <p:nvSpPr>
          <p:cNvPr id="27" name="Text Placehold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23462" y="671668"/>
            <a:ext cx="3476538" cy="771398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0" rIns="0" bIns="0" anchor="ctr">
            <a:normAutofit/>
          </a:bodyPr>
          <a:lstStyle>
            <a:lvl1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IN"/>
              <a:t>Click to add text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71999" y="2808694"/>
            <a:ext cx="4428000" cy="0"/>
          </a:xfrm>
          <a:prstGeom prst="line">
            <a:avLst/>
          </a:prstGeom>
          <a:noFill/>
          <a:ln w="6350" cap="flat" cmpd="sng" algn="ctr">
            <a:solidFill>
              <a:srgbClr val="000346">
                <a:shade val="60000"/>
                <a:satMod val="110000"/>
              </a:srgbClr>
            </a:solidFill>
            <a:prstDash val="solid"/>
          </a:ln>
          <a:effectLst/>
        </p:spPr>
      </p:cxnSp>
      <p:sp>
        <p:nvSpPr>
          <p:cNvPr id="6" name="TextBox 5"/>
          <p:cNvSpPr txBox="1"/>
          <p:nvPr userDrawn="1"/>
        </p:nvSpPr>
        <p:spPr>
          <a:xfrm>
            <a:off x="72000" y="2520000"/>
            <a:ext cx="4428000" cy="36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ject</a:t>
            </a:r>
            <a:r>
              <a:rPr lang="en-US" sz="1400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Objectives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4644000" y="2520000"/>
            <a:ext cx="4428000" cy="36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40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pproach &amp; Deliverables</a:t>
            </a:r>
            <a:endParaRPr lang="en-US" sz="1400" baseline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4644000" y="2807967"/>
            <a:ext cx="4428000" cy="0"/>
          </a:xfrm>
          <a:prstGeom prst="line">
            <a:avLst/>
          </a:prstGeom>
          <a:noFill/>
          <a:ln w="6350" cap="flat" cmpd="sng" algn="ctr">
            <a:solidFill>
              <a:srgbClr val="000346">
                <a:shade val="60000"/>
                <a:satMod val="110000"/>
              </a:srgbClr>
            </a:solidFill>
            <a:prstDash val="solid"/>
          </a:ln>
          <a:effectLst/>
        </p:spPr>
      </p:cxnSp>
      <p:cxnSp>
        <p:nvCxnSpPr>
          <p:cNvPr id="21" name="Straight Connector 20"/>
          <p:cNvCxnSpPr/>
          <p:nvPr userDrawn="1"/>
        </p:nvCxnSpPr>
        <p:spPr>
          <a:xfrm>
            <a:off x="1022400" y="1579731"/>
            <a:ext cx="0" cy="7920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00" y="-1622"/>
            <a:ext cx="583620" cy="818708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1048198" y="1537021"/>
            <a:ext cx="8023802" cy="8747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effectLst/>
        </p:spPr>
        <p:txBody>
          <a:bodyPr lIns="72000" tIns="72000" rIns="72000" bIns="7200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/>
              <a:t>Click to detail value delivered to clie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72000" y="2808000"/>
            <a:ext cx="4428000" cy="2268000"/>
          </a:xfrm>
        </p:spPr>
        <p:txBody>
          <a:bodyPr anchor="ctr">
            <a:normAutofit/>
          </a:bodyPr>
          <a:lstStyle>
            <a:lvl1pPr marL="243450" indent="-171450"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4644000" y="2808000"/>
            <a:ext cx="4428000" cy="2268000"/>
          </a:xfrm>
        </p:spPr>
        <p:txBody>
          <a:bodyPr anchor="ctr">
            <a:normAutofit/>
          </a:bodyPr>
          <a:lstStyle>
            <a:lvl1pPr marL="243450" indent="-171450"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401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/>
        </p:nvSpPr>
        <p:spPr>
          <a:xfrm>
            <a:off x="3816001" y="2170802"/>
            <a:ext cx="3023999" cy="359998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rgbClr val="000346">
                <a:shade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Experience</a:t>
            </a:r>
          </a:p>
        </p:txBody>
      </p:sp>
      <p:sp>
        <p:nvSpPr>
          <p:cNvPr id="15" name="Content Placeholder 14"/>
          <p:cNvSpPr>
            <a:spLocks noGrp="1"/>
          </p:cNvSpPr>
          <p:nvPr userDrawn="1">
            <p:ph sz="quarter" idx="11" hasCustomPrompt="1"/>
          </p:nvPr>
        </p:nvSpPr>
        <p:spPr>
          <a:xfrm>
            <a:off x="720000" y="2530801"/>
            <a:ext cx="3024000" cy="25415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 anchorCtr="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noProof="0" dirty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720000" y="2170801"/>
            <a:ext cx="3024000" cy="36000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rgbClr val="000346">
                <a:shade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Expertise</a:t>
            </a:r>
          </a:p>
        </p:txBody>
      </p:sp>
      <p:sp>
        <p:nvSpPr>
          <p:cNvPr id="18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3816002" y="2530801"/>
            <a:ext cx="3023998" cy="254159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 anchorCtr="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noProof="0" dirty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449263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808038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Calibri" pitchFamily="34" charset="0"/>
              <a:buChar char="ο"/>
              <a:tabLst/>
              <a:defRPr/>
            </a:lvl3pPr>
            <a:lvl4pPr marL="1165225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lvl4pPr>
            <a:lvl5pPr marL="1524000" marR="0" indent="-1143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§"/>
              <a:tabLst/>
              <a:defRPr/>
            </a:lvl5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lick to add text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8"/>
          </p:nvPr>
        </p:nvSpPr>
        <p:spPr>
          <a:xfrm>
            <a:off x="720000" y="684000"/>
            <a:ext cx="1080001" cy="1414800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72001" y="684000"/>
            <a:ext cx="4968000" cy="359999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>
            <a:lvl1pPr marL="0" indent="0">
              <a:buFont typeface="Arial" panose="020B0604020202020204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912000" y="683999"/>
            <a:ext cx="2160000" cy="3855600"/>
          </a:xfrm>
          <a:prstGeom prst="rect">
            <a:avLst/>
          </a:prstGeom>
          <a:gradFill>
            <a:gsLst>
              <a:gs pos="0">
                <a:srgbClr val="B4B4B4">
                  <a:tint val="66000"/>
                  <a:satMod val="160000"/>
                </a:srgbClr>
              </a:gs>
              <a:gs pos="50000">
                <a:srgbClr val="B4B4B4">
                  <a:tint val="44500"/>
                  <a:satMod val="160000"/>
                </a:srgbClr>
              </a:gs>
              <a:gs pos="100000">
                <a:srgbClr val="B4B4B4">
                  <a:tint val="23500"/>
                  <a:satMod val="160000"/>
                </a:srgbClr>
              </a:gs>
            </a:gsLst>
            <a:lin ang="2700000" scaled="1"/>
          </a:gradFill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algn="ctr"/>
            <a:r>
              <a:rPr lang="en-US" sz="1200" b="1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ighlights</a:t>
            </a:r>
            <a:endParaRPr lang="en-US" b="1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912000" y="1044000"/>
            <a:ext cx="2159999" cy="3488400"/>
          </a:xfrm>
          <a:prstGeom prst="rect">
            <a:avLst/>
          </a:prstGeom>
        </p:spPr>
        <p:txBody>
          <a:bodyPr lIns="18288" tIns="45720" rIns="18288">
            <a:normAutofit/>
          </a:bodyPr>
          <a:lstStyle>
            <a:lvl1pPr marL="243450" indent="-171450"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accent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/>
              <a:t>Click to add tex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912000" y="4539598"/>
            <a:ext cx="2160000" cy="5328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Content Placeholder 29"/>
          <p:cNvSpPr>
            <a:spLocks noGrp="1"/>
          </p:cNvSpPr>
          <p:nvPr>
            <p:ph sz="quarter" idx="17" hasCustomPrompt="1"/>
          </p:nvPr>
        </p:nvSpPr>
        <p:spPr>
          <a:xfrm>
            <a:off x="1872001" y="1044001"/>
            <a:ext cx="4967999" cy="10548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D3D5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>
            <a:lvl1pPr marL="0"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1200" b="0" i="0" u="none" strike="noStrike" kern="0" cap="none" spc="0" normalizeH="0" baseline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mtClean="0"/>
            </a:lvl3pPr>
            <a:lvl4pPr>
              <a:defRPr lang="en-US" sz="1800" smtClean="0"/>
            </a:lvl4pPr>
            <a:lvl5pPr marL="1600200" indent="0">
              <a:buNone/>
              <a:defRPr lang="en-US" sz="1800"/>
            </a:lvl5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36459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2rows x 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718654" y="3373200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4068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3661200"/>
            <a:ext cx="4068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4999173" y="1613019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997827" y="3380619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4999173" y="1901019"/>
            <a:ext cx="4068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4999173" y="3668619"/>
            <a:ext cx="4068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0000" y="3661200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4999173" y="1893600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4999173" y="3661200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0753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1row x 2columns + 1row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4068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4999173" y="1613019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4999173" y="1901019"/>
            <a:ext cx="4068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4999173" y="1893600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6083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1row x 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4068000" cy="3186000"/>
          </a:xfrm>
        </p:spPr>
        <p:txBody>
          <a:bodyPr tIns="7200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4999173" y="1613019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4999173" y="1901019"/>
            <a:ext cx="4068000" cy="3186000"/>
          </a:xfrm>
        </p:spPr>
        <p:txBody>
          <a:bodyPr tIns="72000" anchor="ctr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4999173" y="1893600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99203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2rows x 1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8352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718654" y="3373200"/>
            <a:ext cx="8352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8352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3661200"/>
            <a:ext cx="8352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83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0000" y="3661200"/>
            <a:ext cx="83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2197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1row x 1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8352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598"/>
            <a:ext cx="8352000" cy="31860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83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81995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2rows x 3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718654" y="33732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36612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0000" y="3661200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3563625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3562279" y="33732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3563625" y="18936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3563625" y="36612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3563625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3563625" y="3661200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6407250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05904" y="33732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42" hasCustomPrompt="1"/>
          </p:nvPr>
        </p:nvSpPr>
        <p:spPr>
          <a:xfrm>
            <a:off x="6407250" y="18936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6" name="Text Placeholder 24"/>
          <p:cNvSpPr>
            <a:spLocks noGrp="1"/>
          </p:cNvSpPr>
          <p:nvPr>
            <p:ph type="body" sz="quarter" idx="43" hasCustomPrompt="1"/>
          </p:nvPr>
        </p:nvSpPr>
        <p:spPr>
          <a:xfrm>
            <a:off x="6407250" y="36612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6407250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>
            <a:off x="6407250" y="3661200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168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1row x 3columns + 1row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3565777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3565777" y="18936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3565777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6412261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42" hasCustomPrompt="1"/>
          </p:nvPr>
        </p:nvSpPr>
        <p:spPr>
          <a:xfrm>
            <a:off x="6412261" y="1893600"/>
            <a:ext cx="2664000" cy="14076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6412261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44620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1row x 3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598"/>
            <a:ext cx="2664000" cy="3186000"/>
          </a:xfrm>
        </p:spPr>
        <p:txBody>
          <a:bodyPr tIns="72000">
            <a:normAutofit/>
          </a:bodyPr>
          <a:lstStyle>
            <a:lvl1pPr marL="243450" indent="-171450"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3563625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3563625" y="1893598"/>
            <a:ext cx="2664000" cy="31860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3563625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6407250" y="1605600"/>
            <a:ext cx="2664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24"/>
          <p:cNvSpPr>
            <a:spLocks noGrp="1"/>
          </p:cNvSpPr>
          <p:nvPr>
            <p:ph type="body" sz="quarter" idx="42" hasCustomPrompt="1"/>
          </p:nvPr>
        </p:nvSpPr>
        <p:spPr>
          <a:xfrm>
            <a:off x="6407250" y="1893598"/>
            <a:ext cx="2664000" cy="318600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6407250" y="1893577"/>
            <a:ext cx="26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2971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4532400"/>
            <a:ext cx="1800000" cy="54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84"/>
            <a:ext cx="1800000" cy="4460684"/>
          </a:xfrm>
          <a:prstGeom prst="rect">
            <a:avLst/>
          </a:prstGeom>
          <a:gradFill flip="none" rotWithShape="1">
            <a:gsLst>
              <a:gs pos="100000">
                <a:srgbClr val="8E8E8E"/>
              </a:gs>
              <a:gs pos="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0" rtlCol="0" anchor="b"/>
          <a:lstStyle/>
          <a:p>
            <a:pPr lvl="0"/>
            <a:endParaRPr lang="en-US" sz="4000" b="1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872000" y="4537684"/>
            <a:ext cx="7272000" cy="534716"/>
          </a:xfrm>
          <a:prstGeom prst="rect">
            <a:avLst/>
          </a:prstGeom>
          <a:solidFill>
            <a:schemeClr val="accent3"/>
          </a:solidFill>
        </p:spPr>
        <p:txBody>
          <a:bodyPr lIns="72000" tIns="72000" rIns="72000" bIns="72000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chapter title</a:t>
            </a:r>
          </a:p>
        </p:txBody>
      </p:sp>
      <p:pic>
        <p:nvPicPr>
          <p:cNvPr id="7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06" y="4537684"/>
            <a:ext cx="1056458" cy="534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" r="1"/>
          <a:stretch/>
        </p:blipFill>
        <p:spPr>
          <a:xfrm>
            <a:off x="383381" y="4552926"/>
            <a:ext cx="1056023" cy="514658"/>
          </a:xfrm>
          <a:prstGeom prst="rect">
            <a:avLst/>
          </a:prstGeom>
        </p:spPr>
      </p:pic>
      <p:sp>
        <p:nvSpPr>
          <p:cNvPr id="8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6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Rectangle 39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6" name="Rectangle 45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6" name="Group 65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67" name="Straight Connector 66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Rectangle 89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1" name="Rectangle 90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94" name="Rectangle 93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95" name="Group 94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96" name="Straight Connector 95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9" name="Rectangle 118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20" name="Group 119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121" name="Straight Connector 120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 165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167" name="Straight Connector 166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478746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+ 1column x 3rows + 1column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20000" y="684000"/>
            <a:ext cx="8352000" cy="84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800" i="1">
                <a:solidFill>
                  <a:schemeClr val="accent1">
                    <a:lumMod val="60000"/>
                    <a:lumOff val="40000"/>
                  </a:schemeClr>
                </a:solidFill>
                <a:latin typeface="Cambria" panose="02040503050406030204" pitchFamily="18" charset="0"/>
              </a:defRPr>
            </a:lvl1pPr>
            <a:lvl2pPr marL="457200" indent="0">
              <a:buFontTx/>
              <a:buNone/>
              <a:defRPr sz="140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40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40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40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highligh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1605600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718654" y="2774420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4" hasCustomPrompt="1"/>
          </p:nvPr>
        </p:nvSpPr>
        <p:spPr>
          <a:xfrm>
            <a:off x="720000" y="1893600"/>
            <a:ext cx="4068000" cy="809570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3062420"/>
            <a:ext cx="4068000" cy="818885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3953351"/>
            <a:ext cx="4068000" cy="288000"/>
          </a:xfrm>
          <a:prstGeom prst="rect">
            <a:avLst/>
          </a:prstGeom>
          <a:noFill/>
          <a:effectLst/>
        </p:spPr>
        <p:txBody>
          <a:bodyPr lIns="0" rIns="0" anchor="ctr">
            <a:normAutofit/>
          </a:bodyPr>
          <a:lstStyle>
            <a:lvl1pPr marL="0" indent="0">
              <a:buNone/>
              <a:defRPr sz="1200" b="1" baseline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720000" y="4241350"/>
            <a:ext cx="4068000" cy="831051"/>
          </a:xfrm>
        </p:spPr>
        <p:txBody>
          <a:bodyPr tIns="72000">
            <a:normAutofit/>
          </a:bodyPr>
          <a:lstStyle>
            <a:lvl1pPr marL="243450" marR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100" kern="1200" dirty="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</a:lstStyle>
          <a:p>
            <a:pPr marL="180000" marR="0" lvl="0" indent="-108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0000" y="1893577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0000" y="3062420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720000" y="4241528"/>
            <a:ext cx="40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5002914" y="1604963"/>
            <a:ext cx="4068000" cy="3467100"/>
          </a:xfrm>
        </p:spPr>
        <p:txBody>
          <a:bodyPr/>
          <a:lstStyle>
            <a:lvl1pPr marL="7200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562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4305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00" y="683281"/>
            <a:ext cx="4098788" cy="4392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3360" y="682645"/>
            <a:ext cx="4100400" cy="439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823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684000"/>
            <a:ext cx="4100400" cy="846000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0000" y="1609040"/>
            <a:ext cx="4100400" cy="345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5622" y="684000"/>
            <a:ext cx="4100400" cy="846000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5200" y="1612901"/>
            <a:ext cx="4100400" cy="345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56123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684000"/>
            <a:ext cx="2736000" cy="900000"/>
          </a:xfrm>
          <a:solidFill>
            <a:schemeClr val="bg1">
              <a:lumMod val="95000"/>
            </a:schemeClr>
          </a:solidFill>
          <a:ln w="3175">
            <a:noFill/>
          </a:ln>
        </p:spPr>
        <p:txBody>
          <a:bodyPr anchor="ctr">
            <a:normAutofit/>
          </a:bodyPr>
          <a:lstStyle>
            <a:lvl1pPr algn="ctr">
              <a:defRPr sz="1600" b="1"/>
            </a:lvl1pPr>
          </a:lstStyle>
          <a:p>
            <a:r>
              <a:rPr lang="en-US"/>
              <a:t>Click to add caption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8000" y="684000"/>
            <a:ext cx="5544000" cy="438943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0000" y="1557873"/>
            <a:ext cx="2736000" cy="3517900"/>
          </a:xfrm>
          <a:solidFill>
            <a:schemeClr val="bg1">
              <a:lumMod val="95000"/>
            </a:schemeClr>
          </a:solidFill>
          <a:ln w="3175">
            <a:noFill/>
          </a:ln>
        </p:spPr>
        <p:txBody>
          <a:bodyPr/>
          <a:lstStyle>
            <a:lvl1pPr marL="0" indent="0">
              <a:buNone/>
              <a:defRPr sz="14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add caption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71438" y="71438"/>
            <a:ext cx="9001125" cy="360362"/>
          </a:xfrm>
        </p:spPr>
        <p:txBody>
          <a:bodyPr lIns="0" tIns="0" rIns="0" bIns="0" anchor="ctr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450850" indent="0">
              <a:buFontTx/>
              <a:buNone/>
              <a:defRPr/>
            </a:lvl2pPr>
            <a:lvl3pPr marL="809625" indent="0">
              <a:buFontTx/>
              <a:buNone/>
              <a:defRPr/>
            </a:lvl3pPr>
            <a:lvl4pPr marL="1258887" indent="0">
              <a:buFontTx/>
              <a:buNone/>
              <a:defRPr/>
            </a:lvl4pPr>
            <a:lvl5pPr marL="1617662" indent="0">
              <a:buFontTx/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569583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69118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2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6" name="Rectangle 35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Rectangle 41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3" name="Rectangle 42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2" name="Group 61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63" name="Straight Connector 62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Rectangle 85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7" name="Rectangle 86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88" name="Straight Connector 87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91" name="Group 90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92" name="Straight Connector 91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Rectangle 114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16" name="Group 115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117" name="Straight Connector 116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2" name="Group 161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163" name="Straight Connector 162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8" name="Rectangle 217"/>
          <p:cNvSpPr/>
          <p:nvPr userDrawn="1"/>
        </p:nvSpPr>
        <p:spPr>
          <a:xfrm>
            <a:off x="0" y="504000"/>
            <a:ext cx="647056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19D073D2-F7DC-459A-94F3-7622EF51676A}" type="slidenum">
              <a:rPr lang="fr-FR" sz="900" kern="1200" smtClean="0">
                <a:solidFill>
                  <a:schemeClr val="tx1">
                    <a:tint val="75000"/>
                  </a:schemeClr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algn="ctr"/>
              <a:t>‹#›</a:t>
            </a:fld>
            <a:endParaRPr lang="en-US" sz="9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219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32438" y="937891"/>
            <a:ext cx="990599" cy="48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0" name="Rectangle 219"/>
          <p:cNvSpPr/>
          <p:nvPr userDrawn="1"/>
        </p:nvSpPr>
        <p:spPr>
          <a:xfrm>
            <a:off x="120587" y="684865"/>
            <a:ext cx="484548" cy="99059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778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" y="72000"/>
            <a:ext cx="9000000" cy="3600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684000"/>
            <a:ext cx="8352000" cy="4388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493609"/>
            <a:ext cx="647056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19D073D2-F7DC-459A-94F3-7622EF51676A}" type="slidenum">
              <a:rPr lang="fr-FR" sz="900" kern="1200" smtClean="0">
                <a:solidFill>
                  <a:schemeClr val="tx1">
                    <a:tint val="75000"/>
                  </a:schemeClr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algn="ctr"/>
              <a:t>‹#›</a:t>
            </a:fld>
            <a:endParaRPr lang="en-US" sz="9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8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32438" y="937891"/>
            <a:ext cx="990599" cy="48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120587" y="684865"/>
            <a:ext cx="484548" cy="99059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719064" y="493609"/>
            <a:ext cx="8424936" cy="108000"/>
          </a:xfrm>
          <a:prstGeom prst="rect">
            <a:avLst/>
          </a:prstGeom>
          <a:solidFill>
            <a:srgbClr val="B4B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/>
          </a:p>
        </p:txBody>
      </p:sp>
      <p:sp>
        <p:nvSpPr>
          <p:cNvPr id="29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4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45" name="Rectangle 44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Rectangle 57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4" name="Rectangle 63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2" name="Rectangle 71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6" name="Rectangle 75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" name="Rectangle 79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" name="Rectangle 80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" name="Rectangle 81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" name="Rectangle 82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84" name="Group 83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85" name="Straight Connector 84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Rectangle 107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9" name="Rectangle 108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10" name="Straight Connector 109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112" name="Rectangle 111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13" name="Group 112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114" name="Straight Connector 113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 136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138" name="Group 137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139" name="Straight Connector 138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185" name="Straight Connector 184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387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651" r:id="rId2"/>
    <p:sldLayoutId id="2147483699" r:id="rId3"/>
    <p:sldLayoutId id="2147483742" r:id="rId4"/>
    <p:sldLayoutId id="2147483744" r:id="rId5"/>
    <p:sldLayoutId id="2147483745" r:id="rId6"/>
    <p:sldLayoutId id="2147483748" r:id="rId7"/>
    <p:sldLayoutId id="2147483654" r:id="rId8"/>
    <p:sldLayoutId id="2147483655" r:id="rId9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spcBef>
          <a:spcPct val="20000"/>
        </a:spcBef>
        <a:buClr>
          <a:srgbClr val="2CEB89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6700" algn="l" defTabSz="914400" rtl="0" eaLnBrk="1" latinLnBrk="0" hangingPunct="1">
        <a:spcBef>
          <a:spcPct val="20000"/>
        </a:spcBef>
        <a:buFont typeface="Helvetica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73150" indent="-263525" algn="l" defTabSz="91440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179388" algn="l" defTabSz="914400" rtl="0" eaLnBrk="1" latinLnBrk="0" hangingPunct="1">
        <a:spcBef>
          <a:spcPct val="20000"/>
        </a:spcBef>
        <a:buFont typeface="Helvetica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970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" y="72000"/>
            <a:ext cx="9005715" cy="360000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/>
          <a:p>
            <a:pPr marL="342900" lvl="0" indent="-342900" algn="l">
              <a:buFontTx/>
            </a:pPr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719064" y="493609"/>
            <a:ext cx="8424936" cy="108000"/>
          </a:xfrm>
          <a:prstGeom prst="rect">
            <a:avLst/>
          </a:prstGeom>
          <a:solidFill>
            <a:srgbClr val="B4B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/>
          </a:p>
        </p:txBody>
      </p:sp>
      <p:sp>
        <p:nvSpPr>
          <p:cNvPr id="10" name="Rectangle 9"/>
          <p:cNvSpPr/>
          <p:nvPr/>
        </p:nvSpPr>
        <p:spPr>
          <a:xfrm>
            <a:off x="0" y="493609"/>
            <a:ext cx="647056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19D073D2-F7DC-459A-94F3-7622EF51676A}" type="slidenum">
              <a:rPr lang="fr-FR" sz="900" kern="1200" smtClean="0">
                <a:solidFill>
                  <a:schemeClr val="tx1">
                    <a:tint val="75000"/>
                  </a:schemeClr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algn="ctr"/>
              <a:t>‹#›</a:t>
            </a:fld>
            <a:endParaRPr lang="en-US" sz="9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026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32438" y="937891"/>
            <a:ext cx="990599" cy="48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20000" y="684866"/>
            <a:ext cx="8352000" cy="438753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02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803" name="Rectangle 802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4" name="Rectangle 803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5" name="Rectangle 804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6" name="Rectangle 805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7" name="Rectangle 806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8" name="Rectangle 807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09" name="Rectangle 808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0" name="Rectangle 809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1" name="Rectangle 810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2" name="Rectangle 811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3" name="Rectangle 812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4" name="Rectangle 813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5" name="Rectangle 814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6" name="Rectangle 815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7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818" name="Rectangle 817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19" name="Rectangle 818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0" name="Rectangle 819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1" name="Rectangle 820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2" name="Rectangle 821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3" name="Rectangle 822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4" name="Rectangle 823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5" name="Rectangle 824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6" name="Rectangle 825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7" name="Rectangle 826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8" name="Rectangle 827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29" name="Rectangle 828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0" name="Rectangle 829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1" name="Rectangle 830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2" name="Rectangle 831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3" name="Rectangle 832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4" name="Rectangle 833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5" name="Rectangle 834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6" name="Rectangle 835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7" name="Rectangle 836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8" name="Rectangle 837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39" name="Rectangle 838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0" name="Rectangle 839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1" name="Rectangle 840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2" name="Rectangle 841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3" name="Rectangle 842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4" name="Rectangle 843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5" name="Rectangle 844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6" name="Rectangle 845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7" name="Rectangle 846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8" name="Rectangle 847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49" name="Rectangle 848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0" name="Rectangle 849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1" name="Rectangle 850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2" name="Rectangle 851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3" name="Rectangle 852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4" name="Rectangle 853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5" name="Rectangle 854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56" name="Rectangle 855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857" name="Group 856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858" name="Straight Connector 857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9" name="Straight Connector 858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0" name="Straight Connector 859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1" name="Straight Connector 860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2" name="Straight Connector 861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3" name="Straight Connector 862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4" name="Straight Connector 863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5" name="Straight Connector 864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6" name="Straight Connector 865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7" name="Straight Connector 866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8" name="Straight Connector 867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9" name="Straight Connector 868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0" name="Straight Connector 869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1" name="Straight Connector 870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2" name="Straight Connector 871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3" name="Straight Connector 872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4" name="Straight Connector 873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5" name="Straight Connector 874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6" name="Straight Connector 875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7" name="Straight Connector 876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8" name="Straight Connector 877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9" name="Straight Connector 878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0" name="Straight Connector 879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1" name="Rectangle 880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82" name="Rectangle 881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883" name="Straight Connector 882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4" name="Rectangle 883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885" name="Rectangle 884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886" name="Group 885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887" name="Straight Connector 886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8" name="Straight Connector 887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9" name="Straight Connector 888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0" name="Straight Connector 889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1" name="Straight Connector 890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2" name="Straight Connector 891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3" name="Straight Connector 892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4" name="Straight Connector 893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5" name="Straight Connector 894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6" name="Straight Connector 895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7" name="Straight Connector 896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8" name="Straight Connector 897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9" name="Straight Connector 898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0" name="Straight Connector 899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1" name="Straight Connector 900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2" name="Straight Connector 901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3" name="Straight Connector 902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4" name="Straight Connector 903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5" name="Straight Connector 904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6" name="Straight Connector 905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7" name="Straight Connector 906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8" name="Straight Connector 907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9" name="Straight Connector 908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0" name="Rectangle 909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911" name="Group 910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912" name="Straight Connector 911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3" name="Straight Connector 912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4" name="Straight Connector 913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5" name="Straight Connector 914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6" name="Straight Connector 915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7" name="Straight Connector 916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8" name="Straight Connector 917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9" name="Straight Connector 918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0" name="Straight Connector 919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1" name="Straight Connector 920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2" name="Straight Connector 921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3" name="Straight Connector 922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4" name="Straight Connector 923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5" name="Straight Connector 924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6" name="Straight Connector 925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7" name="Straight Connector 926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8" name="Straight Connector 927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9" name="Straight Connector 928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0" name="Straight Connector 929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1" name="Straight Connector 930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2" name="Straight Connector 931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3" name="Straight Connector 932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4" name="Straight Connector 933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5" name="Straight Connector 934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6" name="Straight Connector 935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7" name="Straight Connector 936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8" name="Straight Connector 937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9" name="Straight Connector 938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0" name="Straight Connector 939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1" name="Straight Connector 940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2" name="Straight Connector 941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3" name="Straight Connector 942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4" name="Straight Connector 943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5" name="Straight Connector 944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6" name="Straight Connector 945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7" name="Straight Connector 946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8" name="Straight Connector 947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9" name="Straight Connector 948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0" name="Straight Connector 949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1" name="Straight Connector 950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2" name="Straight Connector 951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3" name="Straight Connector 952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4" name="Straight Connector 953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5" name="Straight Connector 954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6" name="Straight Connector 955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7" name="Group 956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958" name="Straight Connector 957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9" name="Straight Connector 958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0" name="Straight Connector 959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1" name="Straight Connector 960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2" name="Straight Connector 961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3" name="Straight Connector 962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4" name="Straight Connector 963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5" name="Straight Connector 964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6" name="Straight Connector 965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7" name="Straight Connector 966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8" name="Straight Connector 967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9" name="Straight Connector 968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0" name="Straight Connector 969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1" name="Straight Connector 970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2" name="Straight Connector 971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3" name="Straight Connector 972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4" name="Straight Connector 973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5" name="Straight Connector 974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6" name="Straight Connector 975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7" name="Straight Connector 976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8" name="Straight Connector 977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9" name="Straight Connector 978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0" name="Straight Connector 979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1" name="Straight Connector 980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2" name="Straight Connector 981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3" name="Straight Connector 982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4" name="Straight Connector 983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5" name="Straight Connector 984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6" name="Straight Connector 985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7" name="Straight Connector 986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8" name="Straight Connector 987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9" name="Straight Connector 988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0" name="Straight Connector 989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1" name="Straight Connector 990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2" name="Straight Connector 991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3" name="Straight Connector 992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4" name="Straight Connector 993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5" name="Straight Connector 994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6" name="Straight Connector 995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7" name="Straight Connector 996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8" name="Straight Connector 997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9" name="Straight Connector 998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0" name="Straight Connector 999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1" name="Straight Connector 1000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2" name="Straight Connector 1001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3" name="Straight Connector 1002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0" name="Rectangle 209"/>
          <p:cNvSpPr/>
          <p:nvPr userDrawn="1"/>
        </p:nvSpPr>
        <p:spPr>
          <a:xfrm>
            <a:off x="120587" y="684865"/>
            <a:ext cx="484548" cy="99059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27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7" r:id="rId2"/>
    <p:sldLayoutId id="2147483710" r:id="rId3"/>
    <p:sldLayoutId id="2147483726" r:id="rId4"/>
    <p:sldLayoutId id="2147483735" r:id="rId5"/>
  </p:sldLayoutIdLst>
  <p:hf sldNum="0" hdr="0" dt="0"/>
  <p:txStyles>
    <p:titleStyle>
      <a:lvl1pPr marL="0" indent="0" algn="l" defTabSz="914400" rtl="0" eaLnBrk="1" latinLnBrk="0" hangingPunct="1">
        <a:spcBef>
          <a:spcPct val="0"/>
        </a:spcBef>
        <a:buNone/>
        <a:defRPr lang="en-US" sz="2400" kern="1200" dirty="0">
          <a:solidFill>
            <a:schemeClr val="accent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180000" marR="0" indent="-1080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1pPr>
      <a:lvl2pPr marL="449263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Helvetica" panose="020B0604020202020204" pitchFamily="34" charset="0"/>
        <a:buChar char="-"/>
        <a:tabLst/>
        <a:defRPr sz="11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808038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80000"/>
        <a:buFont typeface="Calibri" pitchFamily="34" charset="0"/>
        <a:buChar char="ο"/>
        <a:tabLst/>
        <a:defRPr sz="10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1165225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Char char="-"/>
        <a:tabLst/>
        <a:defRPr sz="9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1524000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80000"/>
        <a:buFont typeface="Wingdings" pitchFamily="2" charset="2"/>
        <a:buChar char="§"/>
        <a:tabLst/>
        <a:defRPr sz="8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0" indent="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08000" algn="l" defTabSz="914400" rtl="0" eaLnBrk="1" latinLnBrk="0" hangingPunct="1">
        <a:spcBef>
          <a:spcPts val="0"/>
        </a:spcBef>
        <a:buFont typeface="Calibri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" y="72000"/>
            <a:ext cx="9000000" cy="36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marL="342900" lvl="0" indent="-342900" algn="l">
              <a:buFontTx/>
            </a:pPr>
            <a:r>
              <a:rPr lang="en-US"/>
              <a:t>Click to edit Master title sty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719064" y="493609"/>
            <a:ext cx="8424936" cy="108000"/>
          </a:xfrm>
          <a:prstGeom prst="rect">
            <a:avLst/>
          </a:prstGeom>
          <a:solidFill>
            <a:srgbClr val="B4B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/>
          </a:p>
        </p:txBody>
      </p:sp>
      <p:sp>
        <p:nvSpPr>
          <p:cNvPr id="23" name="Rectangle 22"/>
          <p:cNvSpPr/>
          <p:nvPr userDrawn="1"/>
        </p:nvSpPr>
        <p:spPr>
          <a:xfrm>
            <a:off x="0" y="493609"/>
            <a:ext cx="647056" cy="1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19D073D2-F7DC-459A-94F3-7622EF51676A}" type="slidenum">
              <a:rPr lang="fr-FR" sz="900" kern="1200" smtClean="0">
                <a:solidFill>
                  <a:schemeClr val="tx1">
                    <a:tint val="75000"/>
                  </a:schemeClr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algn="ctr"/>
              <a:t>‹#›</a:t>
            </a:fld>
            <a:endParaRPr lang="en-US" sz="90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24" name="Picture 2" descr="W:\web site\Design\VCLS logo SCREEN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32438" y="937891"/>
            <a:ext cx="990599" cy="48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19064" y="684866"/>
            <a:ext cx="8352936" cy="438753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86" name="Text Placeholder 5"/>
          <p:cNvSpPr txBox="1">
            <a:spLocks/>
          </p:cNvSpPr>
          <p:nvPr userDrawn="1"/>
        </p:nvSpPr>
        <p:spPr>
          <a:xfrm>
            <a:off x="-1440000" y="30456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tx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587" name="Rectangle 586"/>
          <p:cNvSpPr/>
          <p:nvPr userDrawn="1"/>
        </p:nvSpPr>
        <p:spPr>
          <a:xfrm>
            <a:off x="-1152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8" name="Rectangle 587"/>
          <p:cNvSpPr/>
          <p:nvPr userDrawn="1"/>
        </p:nvSpPr>
        <p:spPr>
          <a:xfrm>
            <a:off x="-1152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89" name="Rectangle 588"/>
          <p:cNvSpPr/>
          <p:nvPr userDrawn="1"/>
        </p:nvSpPr>
        <p:spPr>
          <a:xfrm>
            <a:off x="-1152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0" name="Rectangle 589"/>
          <p:cNvSpPr/>
          <p:nvPr userDrawn="1"/>
        </p:nvSpPr>
        <p:spPr>
          <a:xfrm>
            <a:off x="-1152000" y="25308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1" name="Rectangle 590"/>
          <p:cNvSpPr/>
          <p:nvPr userDrawn="1"/>
        </p:nvSpPr>
        <p:spPr>
          <a:xfrm>
            <a:off x="-1152000" y="3657601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2" name="Rectangle 591"/>
          <p:cNvSpPr/>
          <p:nvPr userDrawn="1"/>
        </p:nvSpPr>
        <p:spPr>
          <a:xfrm>
            <a:off x="-1152000" y="4017601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3" name="Rectangle 592"/>
          <p:cNvSpPr/>
          <p:nvPr userDrawn="1"/>
        </p:nvSpPr>
        <p:spPr>
          <a:xfrm>
            <a:off x="-1296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4" name="Rectangle 593"/>
          <p:cNvSpPr/>
          <p:nvPr userDrawn="1"/>
        </p:nvSpPr>
        <p:spPr>
          <a:xfrm>
            <a:off x="-1296000" y="1044000"/>
            <a:ext cx="72000" cy="1054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5" name="Rectangle 594"/>
          <p:cNvSpPr/>
          <p:nvPr userDrawn="1"/>
        </p:nvSpPr>
        <p:spPr>
          <a:xfrm>
            <a:off x="-1296000" y="21708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6" name="Rectangle 595"/>
          <p:cNvSpPr/>
          <p:nvPr userDrawn="1"/>
        </p:nvSpPr>
        <p:spPr>
          <a:xfrm>
            <a:off x="-1296000" y="25308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7" name="Rectangle 596"/>
          <p:cNvSpPr/>
          <p:nvPr userDrawn="1"/>
        </p:nvSpPr>
        <p:spPr>
          <a:xfrm>
            <a:off x="-1440000" y="684000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8" name="Rectangle 597"/>
          <p:cNvSpPr/>
          <p:nvPr userDrawn="1"/>
        </p:nvSpPr>
        <p:spPr>
          <a:xfrm>
            <a:off x="-1440000" y="1044000"/>
            <a:ext cx="72000" cy="25416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599" name="Rectangle 598"/>
          <p:cNvSpPr/>
          <p:nvPr userDrawn="1"/>
        </p:nvSpPr>
        <p:spPr>
          <a:xfrm>
            <a:off x="-1440000" y="3678975"/>
            <a:ext cx="72000" cy="360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0" name="Rectangle 599"/>
          <p:cNvSpPr/>
          <p:nvPr userDrawn="1"/>
        </p:nvSpPr>
        <p:spPr>
          <a:xfrm>
            <a:off x="-1440000" y="4038975"/>
            <a:ext cx="72000" cy="103342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1" name="Text Placeholder 5"/>
          <p:cNvSpPr txBox="1">
            <a:spLocks/>
          </p:cNvSpPr>
          <p:nvPr userDrawn="1"/>
        </p:nvSpPr>
        <p:spPr>
          <a:xfrm>
            <a:off x="-1296000" y="4532400"/>
            <a:ext cx="72000" cy="540000"/>
          </a:xfrm>
          <a:prstGeom prst="rect">
            <a:avLst/>
          </a:prstGeom>
          <a:solidFill>
            <a:srgbClr val="2CEB89">
              <a:alpha val="20000"/>
            </a:srgbClr>
          </a:solidFill>
          <a:ln w="3175" cap="flat" cmpd="sng" algn="ctr">
            <a:solidFill>
              <a:schemeClr val="accent1"/>
            </a:solidFill>
            <a:prstDash val="solid"/>
          </a:ln>
          <a:effectLst/>
        </p:spPr>
        <p:txBody>
          <a:bodyPr lIns="71992" tIns="71992" rIns="71992" bIns="71992" rtlCol="0" anchor="ctr"/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kumimoji="0" lang="en-US" sz="1400" b="1" i="0" u="none" strike="noStrike" kern="0" cap="none" spc="0" normalizeH="0" baseline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5715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028700" indent="-114300" algn="l" defTabSz="914400" rtl="0" eaLnBrk="1" latinLnBrk="0" hangingPunct="1">
              <a:spcBef>
                <a:spcPct val="20000"/>
              </a:spcBef>
              <a:buSzPct val="80000"/>
              <a:buFont typeface="Calibri" pitchFamily="34" charset="0"/>
              <a:buChar char="ο"/>
              <a:defRPr lang="en-US" sz="12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485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lang="en-US" sz="1800" kern="1200" smtClean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1943100" indent="-114300" algn="l" defTabSz="914400" rtl="0" eaLnBrk="1" latinLnBrk="0" hangingPunct="1">
              <a:spcBef>
                <a:spcPct val="20000"/>
              </a:spcBef>
              <a:buSzPct val="80000"/>
              <a:buFont typeface="Wingdings" pitchFamily="2" charset="2"/>
              <a:buChar char="§"/>
              <a:defRPr lang="en-US"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-108000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</a:pPr>
            <a:endParaRPr lang="en-US"/>
          </a:p>
        </p:txBody>
      </p:sp>
      <p:sp>
        <p:nvSpPr>
          <p:cNvPr id="602" name="Rectangle 601"/>
          <p:cNvSpPr/>
          <p:nvPr userDrawn="1"/>
        </p:nvSpPr>
        <p:spPr>
          <a:xfrm>
            <a:off x="-1584000" y="-1"/>
            <a:ext cx="72000" cy="446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3" name="Rectangle 602"/>
          <p:cNvSpPr/>
          <p:nvPr userDrawn="1"/>
        </p:nvSpPr>
        <p:spPr>
          <a:xfrm>
            <a:off x="-1584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4" name="Rectangle 603"/>
          <p:cNvSpPr/>
          <p:nvPr userDrawn="1"/>
        </p:nvSpPr>
        <p:spPr>
          <a:xfrm>
            <a:off x="719998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5" name="Rectangle 604"/>
          <p:cNvSpPr/>
          <p:nvPr userDrawn="1"/>
        </p:nvSpPr>
        <p:spPr>
          <a:xfrm>
            <a:off x="3527999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6" name="Rectangle 605"/>
          <p:cNvSpPr/>
          <p:nvPr userDrawn="1"/>
        </p:nvSpPr>
        <p:spPr>
          <a:xfrm>
            <a:off x="6336000" y="-1152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7" name="Rectangle 606"/>
          <p:cNvSpPr/>
          <p:nvPr userDrawn="1"/>
        </p:nvSpPr>
        <p:spPr>
          <a:xfrm>
            <a:off x="720392" y="-1296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8" name="Rectangle 607"/>
          <p:cNvSpPr/>
          <p:nvPr userDrawn="1"/>
        </p:nvSpPr>
        <p:spPr>
          <a:xfrm>
            <a:off x="3528392" y="-1296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09" name="Rectangle 608"/>
          <p:cNvSpPr/>
          <p:nvPr userDrawn="1"/>
        </p:nvSpPr>
        <p:spPr>
          <a:xfrm>
            <a:off x="6336394" y="-1440000"/>
            <a:ext cx="2736000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0" name="Rectangle 609"/>
          <p:cNvSpPr/>
          <p:nvPr userDrawn="1"/>
        </p:nvSpPr>
        <p:spPr>
          <a:xfrm>
            <a:off x="719998" y="-1440000"/>
            <a:ext cx="5543607" cy="72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1" name="Rectangle 610"/>
          <p:cNvSpPr/>
          <p:nvPr userDrawn="1"/>
        </p:nvSpPr>
        <p:spPr>
          <a:xfrm>
            <a:off x="729917" y="-1584000"/>
            <a:ext cx="108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2" name="Rectangle 611"/>
          <p:cNvSpPr/>
          <p:nvPr userDrawn="1"/>
        </p:nvSpPr>
        <p:spPr>
          <a:xfrm>
            <a:off x="1872000" y="-1584000"/>
            <a:ext cx="4968000" cy="72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3" name="Rectangle 612"/>
          <p:cNvSpPr/>
          <p:nvPr userDrawn="1"/>
        </p:nvSpPr>
        <p:spPr>
          <a:xfrm>
            <a:off x="6912197" y="-1584000"/>
            <a:ext cx="2160000" cy="72000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4" name="Rectangle 613"/>
          <p:cNvSpPr>
            <a:spLocks/>
          </p:cNvSpPr>
          <p:nvPr userDrawn="1"/>
        </p:nvSpPr>
        <p:spPr>
          <a:xfrm>
            <a:off x="729917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15" name="Rectangle 614"/>
          <p:cNvSpPr>
            <a:spLocks/>
          </p:cNvSpPr>
          <p:nvPr userDrawn="1"/>
        </p:nvSpPr>
        <p:spPr>
          <a:xfrm>
            <a:off x="3852000" y="-1728000"/>
            <a:ext cx="3024000" cy="7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rgbClr val="ECFE06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16" name="Rectangle 615"/>
          <p:cNvSpPr/>
          <p:nvPr userDrawn="1"/>
        </p:nvSpPr>
        <p:spPr>
          <a:xfrm>
            <a:off x="6912197" y="-1728000"/>
            <a:ext cx="2160000" cy="720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7" name="Rectangle 616"/>
          <p:cNvSpPr/>
          <p:nvPr userDrawn="1"/>
        </p:nvSpPr>
        <p:spPr>
          <a:xfrm>
            <a:off x="-1872000" y="684000"/>
            <a:ext cx="72000" cy="849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8" name="Rectangle 617"/>
          <p:cNvSpPr/>
          <p:nvPr userDrawn="1"/>
        </p:nvSpPr>
        <p:spPr>
          <a:xfrm>
            <a:off x="-1872000" y="1605600"/>
            <a:ext cx="72000" cy="1695600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19" name="Rectangle 618"/>
          <p:cNvSpPr/>
          <p:nvPr userDrawn="1"/>
        </p:nvSpPr>
        <p:spPr>
          <a:xfrm>
            <a:off x="-1872000" y="3373199"/>
            <a:ext cx="72000" cy="1699201"/>
          </a:xfrm>
          <a:prstGeom prst="rect">
            <a:avLst/>
          </a:prstGeom>
          <a:noFill/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0" name="Rectangle 619"/>
          <p:cNvSpPr>
            <a:spLocks/>
          </p:cNvSpPr>
          <p:nvPr userDrawn="1"/>
        </p:nvSpPr>
        <p:spPr>
          <a:xfrm>
            <a:off x="730800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21" name="Rectangle 620"/>
          <p:cNvSpPr>
            <a:spLocks/>
          </p:cNvSpPr>
          <p:nvPr userDrawn="1"/>
        </p:nvSpPr>
        <p:spPr>
          <a:xfrm>
            <a:off x="4968394" y="-1872000"/>
            <a:ext cx="4104000" cy="72000"/>
          </a:xfrm>
          <a:prstGeom prst="rect">
            <a:avLst/>
          </a:prstGeom>
          <a:noFill/>
          <a:ln w="3175" cap="flat" cmpd="sng" algn="ctr">
            <a:solidFill>
              <a:srgbClr val="FF000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22" name="Rectangle 621"/>
          <p:cNvSpPr/>
          <p:nvPr userDrawn="1"/>
        </p:nvSpPr>
        <p:spPr>
          <a:xfrm>
            <a:off x="-2016000" y="684000"/>
            <a:ext cx="72000" cy="8496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3" name="Rectangle 622"/>
          <p:cNvSpPr/>
          <p:nvPr userDrawn="1"/>
        </p:nvSpPr>
        <p:spPr>
          <a:xfrm>
            <a:off x="-2016000" y="16056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4" name="Rectangle 623"/>
          <p:cNvSpPr/>
          <p:nvPr userDrawn="1"/>
        </p:nvSpPr>
        <p:spPr>
          <a:xfrm>
            <a:off x="-2016000" y="27828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5" name="Rectangle 624"/>
          <p:cNvSpPr/>
          <p:nvPr userDrawn="1"/>
        </p:nvSpPr>
        <p:spPr>
          <a:xfrm>
            <a:off x="-2016000" y="3960000"/>
            <a:ext cx="72000" cy="1105200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6" name="Rectangle 625"/>
          <p:cNvSpPr/>
          <p:nvPr userDrawn="1"/>
        </p:nvSpPr>
        <p:spPr>
          <a:xfrm>
            <a:off x="-1728000" y="0"/>
            <a:ext cx="72000" cy="38484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7" name="Rectangle 626"/>
          <p:cNvSpPr/>
          <p:nvPr userDrawn="1"/>
        </p:nvSpPr>
        <p:spPr>
          <a:xfrm>
            <a:off x="-1728000" y="4532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8" name="Rectangle 627"/>
          <p:cNvSpPr/>
          <p:nvPr userDrawn="1"/>
        </p:nvSpPr>
        <p:spPr>
          <a:xfrm>
            <a:off x="-1728000" y="3920400"/>
            <a:ext cx="72000" cy="540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29" name="Rectangle 628"/>
          <p:cNvSpPr/>
          <p:nvPr userDrawn="1"/>
        </p:nvSpPr>
        <p:spPr>
          <a:xfrm>
            <a:off x="-2160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0" name="Rectangle 629"/>
          <p:cNvSpPr/>
          <p:nvPr userDrawn="1"/>
        </p:nvSpPr>
        <p:spPr>
          <a:xfrm>
            <a:off x="-2160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1" name="Rectangle 630"/>
          <p:cNvSpPr/>
          <p:nvPr userDrawn="1"/>
        </p:nvSpPr>
        <p:spPr>
          <a:xfrm>
            <a:off x="-2160000" y="12456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2" name="Rectangle 631"/>
          <p:cNvSpPr/>
          <p:nvPr userDrawn="1"/>
        </p:nvSpPr>
        <p:spPr>
          <a:xfrm>
            <a:off x="-2160000" y="3196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3" name="Rectangle 632"/>
          <p:cNvSpPr/>
          <p:nvPr userDrawn="1"/>
        </p:nvSpPr>
        <p:spPr>
          <a:xfrm>
            <a:off x="-2160000" y="3196800"/>
            <a:ext cx="72000" cy="18792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4" name="Rectangle 633"/>
          <p:cNvSpPr/>
          <p:nvPr userDrawn="1"/>
        </p:nvSpPr>
        <p:spPr>
          <a:xfrm>
            <a:off x="-2304000" y="684000"/>
            <a:ext cx="72000" cy="489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5" name="Rectangle 634"/>
          <p:cNvSpPr/>
          <p:nvPr userDrawn="1"/>
        </p:nvSpPr>
        <p:spPr>
          <a:xfrm>
            <a:off x="-2304000" y="12456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6" name="Rectangle 635"/>
          <p:cNvSpPr/>
          <p:nvPr userDrawn="1"/>
        </p:nvSpPr>
        <p:spPr>
          <a:xfrm>
            <a:off x="-2304000" y="12456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7" name="Rectangle 636"/>
          <p:cNvSpPr/>
          <p:nvPr userDrawn="1"/>
        </p:nvSpPr>
        <p:spPr>
          <a:xfrm>
            <a:off x="-2304000" y="25452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8" name="Rectangle 637"/>
          <p:cNvSpPr/>
          <p:nvPr userDrawn="1"/>
        </p:nvSpPr>
        <p:spPr>
          <a:xfrm>
            <a:off x="-2304000" y="25452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39" name="Rectangle 638"/>
          <p:cNvSpPr/>
          <p:nvPr userDrawn="1"/>
        </p:nvSpPr>
        <p:spPr>
          <a:xfrm>
            <a:off x="-2304000" y="3844800"/>
            <a:ext cx="72000" cy="18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40" name="Rectangle 639"/>
          <p:cNvSpPr/>
          <p:nvPr userDrawn="1"/>
        </p:nvSpPr>
        <p:spPr>
          <a:xfrm>
            <a:off x="-2304000" y="3844800"/>
            <a:ext cx="72000" cy="1227600"/>
          </a:xfrm>
          <a:prstGeom prst="rect">
            <a:avLst/>
          </a:prstGeom>
          <a:noFill/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41" name="Group 640"/>
          <p:cNvGrpSpPr/>
          <p:nvPr userDrawn="1"/>
        </p:nvGrpSpPr>
        <p:grpSpPr>
          <a:xfrm>
            <a:off x="0" y="-972000"/>
            <a:ext cx="9144000" cy="900000"/>
            <a:chOff x="0" y="-972000"/>
            <a:chExt cx="9144000" cy="900000"/>
          </a:xfrm>
        </p:grpSpPr>
        <p:cxnSp>
          <p:nvCxnSpPr>
            <p:cNvPr id="642" name="Straight Connector 641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3" name="Straight Connector 642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Straight Connector 643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5" name="Straight Connector 644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6" name="Straight Connector 645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7" name="Straight Connector 646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8" name="Straight Connector 647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9" name="Straight Connector 648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0" name="Straight Connector 649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1" name="Straight Connector 650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2" name="Straight Connector 651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3" name="Straight Connector 652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4" name="Straight Connector 653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5" name="Straight Connector 654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6" name="Straight Connector 655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7" name="Straight Connector 656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8" name="Straight Connector 657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9" name="Straight Connector 658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0" name="Straight Connector 659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1" name="Straight Connector 660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2" name="Straight Connector 661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3" name="Straight Connector 662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4" name="Straight Connector 663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5" name="Rectangle 664"/>
          <p:cNvSpPr>
            <a:spLocks/>
          </p:cNvSpPr>
          <p:nvPr userDrawn="1"/>
        </p:nvSpPr>
        <p:spPr>
          <a:xfrm>
            <a:off x="71505" y="-2016000"/>
            <a:ext cx="4428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6" name="Rectangle 665"/>
          <p:cNvSpPr>
            <a:spLocks/>
          </p:cNvSpPr>
          <p:nvPr userDrawn="1"/>
        </p:nvSpPr>
        <p:spPr>
          <a:xfrm>
            <a:off x="4643610" y="-2016000"/>
            <a:ext cx="4434105" cy="72000"/>
          </a:xfrm>
          <a:prstGeom prst="rect">
            <a:avLst/>
          </a:prstGeom>
          <a:noFill/>
          <a:ln w="3175" cap="flat" cmpd="sng" algn="ctr">
            <a:solidFill>
              <a:srgbClr val="7030A0"/>
            </a:solidFill>
            <a:prstDash val="solid"/>
          </a:ln>
          <a:effectLst/>
        </p:spPr>
        <p:txBody>
          <a:bodyPr vert="horz" lIns="91431" tIns="45715" rIns="91431" bIns="45715" rtlCol="0" anchor="ctr">
            <a:normAutofit fontScale="25000" lnSpcReduction="20000"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667" name="Straight Connector 666"/>
          <p:cNvCxnSpPr/>
          <p:nvPr userDrawn="1"/>
        </p:nvCxnSpPr>
        <p:spPr>
          <a:xfrm>
            <a:off x="-1008000" y="5144400"/>
            <a:ext cx="900000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8" name="Rectangle 667"/>
          <p:cNvSpPr/>
          <p:nvPr userDrawn="1"/>
        </p:nvSpPr>
        <p:spPr>
          <a:xfrm>
            <a:off x="-1872000" y="1605600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sp>
        <p:nvSpPr>
          <p:cNvPr id="669" name="Rectangle 668"/>
          <p:cNvSpPr/>
          <p:nvPr userDrawn="1"/>
        </p:nvSpPr>
        <p:spPr>
          <a:xfrm>
            <a:off x="-1872000" y="3373199"/>
            <a:ext cx="72000" cy="288000"/>
          </a:xfrm>
          <a:prstGeom prst="rect">
            <a:avLst/>
          </a:prstGeom>
          <a:solidFill>
            <a:srgbClr val="FFFF00"/>
          </a:solidFill>
          <a:ln w="3175">
            <a:solidFill>
              <a:srgbClr val="ECFE0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70" name="Group 669"/>
          <p:cNvGrpSpPr/>
          <p:nvPr userDrawn="1"/>
        </p:nvGrpSpPr>
        <p:grpSpPr>
          <a:xfrm flipV="1">
            <a:off x="0" y="5252400"/>
            <a:ext cx="9144000" cy="900000"/>
            <a:chOff x="0" y="-972000"/>
            <a:chExt cx="9144000" cy="900000"/>
          </a:xfrm>
        </p:grpSpPr>
        <p:cxnSp>
          <p:nvCxnSpPr>
            <p:cNvPr id="671" name="Straight Connector 670"/>
            <p:cNvCxnSpPr/>
            <p:nvPr userDrawn="1"/>
          </p:nvCxnSpPr>
          <p:spPr>
            <a:xfrm>
              <a:off x="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/>
            <p:nvPr userDrawn="1"/>
          </p:nvCxnSpPr>
          <p:spPr>
            <a:xfrm>
              <a:off x="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3" name="Straight Connector 672"/>
            <p:cNvCxnSpPr/>
            <p:nvPr userDrawn="1"/>
          </p:nvCxnSpPr>
          <p:spPr>
            <a:xfrm>
              <a:off x="64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4" name="Straight Connector 673"/>
            <p:cNvCxnSpPr/>
            <p:nvPr userDrawn="1"/>
          </p:nvCxnSpPr>
          <p:spPr>
            <a:xfrm>
              <a:off x="720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5" name="Straight Connector 674"/>
            <p:cNvCxnSpPr/>
            <p:nvPr userDrawn="1"/>
          </p:nvCxnSpPr>
          <p:spPr>
            <a:xfrm>
              <a:off x="345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6" name="Straight Connector 675"/>
            <p:cNvCxnSpPr/>
            <p:nvPr userDrawn="1"/>
          </p:nvCxnSpPr>
          <p:spPr>
            <a:xfrm>
              <a:off x="9144000" y="-972000"/>
              <a:ext cx="0" cy="90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7" name="Straight Connector 676"/>
            <p:cNvCxnSpPr/>
            <p:nvPr userDrawn="1"/>
          </p:nvCxnSpPr>
          <p:spPr>
            <a:xfrm>
              <a:off x="9072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8" name="Straight Connector 677"/>
            <p:cNvCxnSpPr/>
            <p:nvPr userDrawn="1"/>
          </p:nvCxnSpPr>
          <p:spPr>
            <a:xfrm>
              <a:off x="3528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9" name="Straight Connector 678"/>
            <p:cNvCxnSpPr/>
            <p:nvPr userDrawn="1"/>
          </p:nvCxnSpPr>
          <p:spPr>
            <a:xfrm>
              <a:off x="6264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0" name="Straight Connector 679"/>
            <p:cNvCxnSpPr/>
            <p:nvPr userDrawn="1"/>
          </p:nvCxnSpPr>
          <p:spPr>
            <a:xfrm>
              <a:off x="6336000" y="-252000"/>
              <a:ext cx="0" cy="18000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1" name="Straight Connector 680"/>
            <p:cNvCxnSpPr/>
            <p:nvPr userDrawn="1"/>
          </p:nvCxnSpPr>
          <p:spPr>
            <a:xfrm>
              <a:off x="180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2" name="Straight Connector 681"/>
            <p:cNvCxnSpPr/>
            <p:nvPr userDrawn="1"/>
          </p:nvCxnSpPr>
          <p:spPr>
            <a:xfrm>
              <a:off x="187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3" name="Straight Connector 682"/>
            <p:cNvCxnSpPr/>
            <p:nvPr userDrawn="1"/>
          </p:nvCxnSpPr>
          <p:spPr>
            <a:xfrm>
              <a:off x="6840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4" name="Straight Connector 683"/>
            <p:cNvCxnSpPr/>
            <p:nvPr userDrawn="1"/>
          </p:nvCxnSpPr>
          <p:spPr>
            <a:xfrm>
              <a:off x="6912000" y="-432000"/>
              <a:ext cx="0" cy="18000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5" name="Straight Connector 684"/>
            <p:cNvCxnSpPr/>
            <p:nvPr userDrawn="1"/>
          </p:nvCxnSpPr>
          <p:spPr>
            <a:xfrm>
              <a:off x="3744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6" name="Straight Connector 685"/>
            <p:cNvCxnSpPr/>
            <p:nvPr userDrawn="1"/>
          </p:nvCxnSpPr>
          <p:spPr>
            <a:xfrm>
              <a:off x="4824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7" name="Straight Connector 686"/>
            <p:cNvCxnSpPr/>
            <p:nvPr userDrawn="1"/>
          </p:nvCxnSpPr>
          <p:spPr>
            <a:xfrm>
              <a:off x="3816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8" name="Straight Connector 687"/>
            <p:cNvCxnSpPr/>
            <p:nvPr userDrawn="1"/>
          </p:nvCxnSpPr>
          <p:spPr>
            <a:xfrm>
              <a:off x="6840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9" name="Straight Connector 688"/>
            <p:cNvCxnSpPr/>
            <p:nvPr userDrawn="1"/>
          </p:nvCxnSpPr>
          <p:spPr>
            <a:xfrm>
              <a:off x="6912000" y="-612000"/>
              <a:ext cx="0" cy="18000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0" name="Straight Connector 689"/>
            <p:cNvCxnSpPr/>
            <p:nvPr userDrawn="1"/>
          </p:nvCxnSpPr>
          <p:spPr>
            <a:xfrm>
              <a:off x="4968000" y="-792000"/>
              <a:ext cx="0" cy="18000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1" name="Straight Connector 690"/>
            <p:cNvCxnSpPr/>
            <p:nvPr userDrawn="1"/>
          </p:nvCxnSpPr>
          <p:spPr>
            <a:xfrm>
              <a:off x="4896000" y="-972000"/>
              <a:ext cx="0" cy="90000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2" name="Straight Connector 691"/>
            <p:cNvCxnSpPr/>
            <p:nvPr userDrawn="1"/>
          </p:nvCxnSpPr>
          <p:spPr>
            <a:xfrm>
              <a:off x="4499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3" name="Straight Connector 692"/>
            <p:cNvCxnSpPr/>
            <p:nvPr userDrawn="1"/>
          </p:nvCxnSpPr>
          <p:spPr>
            <a:xfrm>
              <a:off x="4643611" y="-972000"/>
              <a:ext cx="0" cy="18000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4" name="Rectangle 693"/>
          <p:cNvSpPr/>
          <p:nvPr userDrawn="1"/>
        </p:nvSpPr>
        <p:spPr>
          <a:xfrm>
            <a:off x="-2304000" y="1245600"/>
            <a:ext cx="36000" cy="360000"/>
          </a:xfrm>
          <a:prstGeom prst="rect">
            <a:avLst/>
          </a:prstGeom>
          <a:solidFill>
            <a:srgbClr val="7030A0"/>
          </a:solidFill>
          <a:ln w="31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spcCol="0" rtlCol="0" anchor="ctr"/>
          <a:lstStyle/>
          <a:p>
            <a:pPr algn="ctr"/>
            <a:endParaRPr lang="en-US"/>
          </a:p>
        </p:txBody>
      </p:sp>
      <p:grpSp>
        <p:nvGrpSpPr>
          <p:cNvPr id="695" name="Group 694"/>
          <p:cNvGrpSpPr/>
          <p:nvPr userDrawn="1"/>
        </p:nvGrpSpPr>
        <p:grpSpPr>
          <a:xfrm>
            <a:off x="-1008000" y="0"/>
            <a:ext cx="900000" cy="5072400"/>
            <a:chOff x="-1008000" y="0"/>
            <a:chExt cx="900000" cy="5072400"/>
          </a:xfrm>
        </p:grpSpPr>
        <p:cxnSp>
          <p:nvCxnSpPr>
            <p:cNvPr id="696" name="Straight Connector 695"/>
            <p:cNvCxnSpPr/>
            <p:nvPr userDrawn="1"/>
          </p:nvCxnSpPr>
          <p:spPr>
            <a:xfrm>
              <a:off x="-288000" y="7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7" name="Straight Connector 696"/>
            <p:cNvCxnSpPr/>
            <p:nvPr userDrawn="1"/>
          </p:nvCxnSpPr>
          <p:spPr>
            <a:xfrm>
              <a:off x="-288000" y="43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8" name="Straight Connector 697"/>
            <p:cNvCxnSpPr/>
            <p:nvPr userDrawn="1"/>
          </p:nvCxnSpPr>
          <p:spPr>
            <a:xfrm>
              <a:off x="-288000" y="50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9" name="Straight Connector 698"/>
            <p:cNvCxnSpPr/>
            <p:nvPr userDrawn="1"/>
          </p:nvCxnSpPr>
          <p:spPr>
            <a:xfrm>
              <a:off x="-288000" y="612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0" name="Straight Connector 699"/>
            <p:cNvCxnSpPr/>
            <p:nvPr userDrawn="1"/>
          </p:nvCxnSpPr>
          <p:spPr>
            <a:xfrm>
              <a:off x="-1008000" y="6840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1" name="Straight Connector 700"/>
            <p:cNvCxnSpPr/>
            <p:nvPr userDrawn="1"/>
          </p:nvCxnSpPr>
          <p:spPr>
            <a:xfrm>
              <a:off x="-288000" y="10440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2" name="Straight Connector 701"/>
            <p:cNvCxnSpPr/>
            <p:nvPr userDrawn="1"/>
          </p:nvCxnSpPr>
          <p:spPr>
            <a:xfrm>
              <a:off x="-288000" y="2098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3" name="Straight Connector 702"/>
            <p:cNvCxnSpPr/>
            <p:nvPr userDrawn="1"/>
          </p:nvCxnSpPr>
          <p:spPr>
            <a:xfrm>
              <a:off x="-288000" y="217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4" name="Straight Connector 703"/>
            <p:cNvCxnSpPr/>
            <p:nvPr userDrawn="1"/>
          </p:nvCxnSpPr>
          <p:spPr>
            <a:xfrm>
              <a:off x="-288000" y="25308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5" name="Straight Connector 704"/>
            <p:cNvCxnSpPr/>
            <p:nvPr userDrawn="1"/>
          </p:nvCxnSpPr>
          <p:spPr>
            <a:xfrm>
              <a:off x="-288000" y="358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6" name="Straight Connector 705"/>
            <p:cNvCxnSpPr/>
            <p:nvPr userDrawn="1"/>
          </p:nvCxnSpPr>
          <p:spPr>
            <a:xfrm>
              <a:off x="-288000" y="365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7" name="Straight Connector 706"/>
            <p:cNvCxnSpPr/>
            <p:nvPr userDrawn="1"/>
          </p:nvCxnSpPr>
          <p:spPr>
            <a:xfrm>
              <a:off x="-288000" y="4017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8" name="Straight Connector 707"/>
            <p:cNvCxnSpPr/>
            <p:nvPr userDrawn="1"/>
          </p:nvCxnSpPr>
          <p:spPr>
            <a:xfrm>
              <a:off x="-1008000" y="507240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9" name="Straight Connector 708"/>
            <p:cNvCxnSpPr/>
            <p:nvPr userDrawn="1"/>
          </p:nvCxnSpPr>
          <p:spPr>
            <a:xfrm>
              <a:off x="-288000" y="30456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0" name="Straight Connector 709"/>
            <p:cNvCxnSpPr/>
            <p:nvPr userDrawn="1"/>
          </p:nvCxnSpPr>
          <p:spPr>
            <a:xfrm>
              <a:off x="-288000" y="4532400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1" name="Straight Connector 710"/>
            <p:cNvCxnSpPr/>
            <p:nvPr userDrawn="1"/>
          </p:nvCxnSpPr>
          <p:spPr>
            <a:xfrm>
              <a:off x="-1008000" y="0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2" name="Straight Connector 711"/>
            <p:cNvCxnSpPr/>
            <p:nvPr userDrawn="1"/>
          </p:nvCxnSpPr>
          <p:spPr>
            <a:xfrm>
              <a:off x="-432000" y="4460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3" name="Straight Connector 712"/>
            <p:cNvCxnSpPr/>
            <p:nvPr userDrawn="1"/>
          </p:nvCxnSpPr>
          <p:spPr>
            <a:xfrm>
              <a:off x="-612000" y="153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4" name="Straight Connector 713"/>
            <p:cNvCxnSpPr/>
            <p:nvPr userDrawn="1"/>
          </p:nvCxnSpPr>
          <p:spPr>
            <a:xfrm>
              <a:off x="-792000" y="1533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5" name="Straight Connector 714"/>
            <p:cNvCxnSpPr/>
            <p:nvPr userDrawn="1"/>
          </p:nvCxnSpPr>
          <p:spPr>
            <a:xfrm>
              <a:off x="-612000" y="1605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6" name="Straight Connector 715"/>
            <p:cNvCxnSpPr/>
            <p:nvPr userDrawn="1"/>
          </p:nvCxnSpPr>
          <p:spPr>
            <a:xfrm>
              <a:off x="-612000" y="330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7" name="Straight Connector 716"/>
            <p:cNvCxnSpPr/>
            <p:nvPr userDrawn="1"/>
          </p:nvCxnSpPr>
          <p:spPr>
            <a:xfrm>
              <a:off x="-612000" y="3373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8" name="Straight Connector 717"/>
            <p:cNvCxnSpPr/>
            <p:nvPr userDrawn="1"/>
          </p:nvCxnSpPr>
          <p:spPr>
            <a:xfrm>
              <a:off x="-1008000" y="2880000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9" name="Straight Connector 718"/>
            <p:cNvCxnSpPr/>
            <p:nvPr userDrawn="1"/>
          </p:nvCxnSpPr>
          <p:spPr>
            <a:xfrm>
              <a:off x="-792000" y="16056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0" name="Straight Connector 719"/>
            <p:cNvCxnSpPr/>
            <p:nvPr userDrawn="1"/>
          </p:nvCxnSpPr>
          <p:spPr>
            <a:xfrm>
              <a:off x="-792000" y="2710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1" name="Straight Connector 720"/>
            <p:cNvCxnSpPr/>
            <p:nvPr userDrawn="1"/>
          </p:nvCxnSpPr>
          <p:spPr>
            <a:xfrm>
              <a:off x="-792000" y="27828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2" name="Straight Connector 721"/>
            <p:cNvCxnSpPr/>
            <p:nvPr userDrawn="1"/>
          </p:nvCxnSpPr>
          <p:spPr>
            <a:xfrm>
              <a:off x="-792000" y="3888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3" name="Straight Connector 722"/>
            <p:cNvCxnSpPr/>
            <p:nvPr userDrawn="1"/>
          </p:nvCxnSpPr>
          <p:spPr>
            <a:xfrm>
              <a:off x="-792000" y="3960000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4" name="Straight Connector 723"/>
            <p:cNvCxnSpPr/>
            <p:nvPr userDrawn="1"/>
          </p:nvCxnSpPr>
          <p:spPr>
            <a:xfrm>
              <a:off x="-432000" y="4532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5" name="Straight Connector 724"/>
            <p:cNvCxnSpPr/>
            <p:nvPr userDrawn="1"/>
          </p:nvCxnSpPr>
          <p:spPr>
            <a:xfrm>
              <a:off x="-432000" y="3776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6" name="Straight Connector 725"/>
            <p:cNvCxnSpPr/>
            <p:nvPr userDrawn="1"/>
          </p:nvCxnSpPr>
          <p:spPr>
            <a:xfrm>
              <a:off x="-432000" y="3848400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7" name="Straight Connector 726"/>
            <p:cNvCxnSpPr/>
            <p:nvPr userDrawn="1"/>
          </p:nvCxnSpPr>
          <p:spPr>
            <a:xfrm>
              <a:off x="-972000" y="1173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8" name="Straight Connector 727"/>
            <p:cNvCxnSpPr/>
            <p:nvPr userDrawn="1"/>
          </p:nvCxnSpPr>
          <p:spPr>
            <a:xfrm>
              <a:off x="-972000" y="124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9" name="Straight Connector 728"/>
            <p:cNvCxnSpPr/>
            <p:nvPr userDrawn="1"/>
          </p:nvCxnSpPr>
          <p:spPr>
            <a:xfrm>
              <a:off x="-972000" y="31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0" name="Straight Connector 729"/>
            <p:cNvCxnSpPr/>
            <p:nvPr userDrawn="1"/>
          </p:nvCxnSpPr>
          <p:spPr>
            <a:xfrm>
              <a:off x="-972000" y="319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1" name="Straight Connector 730"/>
            <p:cNvCxnSpPr/>
            <p:nvPr userDrawn="1"/>
          </p:nvCxnSpPr>
          <p:spPr>
            <a:xfrm>
              <a:off x="-972000" y="142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2" name="Straight Connector 731"/>
            <p:cNvCxnSpPr/>
            <p:nvPr userDrawn="1"/>
          </p:nvCxnSpPr>
          <p:spPr>
            <a:xfrm>
              <a:off x="-972000" y="3376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3" name="Straight Connector 732"/>
            <p:cNvCxnSpPr/>
            <p:nvPr userDrawn="1"/>
          </p:nvCxnSpPr>
          <p:spPr>
            <a:xfrm>
              <a:off x="-972000" y="2473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4" name="Straight Connector 733"/>
            <p:cNvCxnSpPr/>
            <p:nvPr userDrawn="1"/>
          </p:nvCxnSpPr>
          <p:spPr>
            <a:xfrm>
              <a:off x="-972000" y="25452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5" name="Straight Connector 734"/>
            <p:cNvCxnSpPr/>
            <p:nvPr userDrawn="1"/>
          </p:nvCxnSpPr>
          <p:spPr>
            <a:xfrm>
              <a:off x="-972000" y="3772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6" name="Straight Connector 735"/>
            <p:cNvCxnSpPr/>
            <p:nvPr userDrawn="1"/>
          </p:nvCxnSpPr>
          <p:spPr>
            <a:xfrm>
              <a:off x="-972000" y="384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7" name="Straight Connector 736"/>
            <p:cNvCxnSpPr/>
            <p:nvPr userDrawn="1"/>
          </p:nvCxnSpPr>
          <p:spPr>
            <a:xfrm>
              <a:off x="-972000" y="40248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8" name="Straight Connector 737"/>
            <p:cNvCxnSpPr/>
            <p:nvPr userDrawn="1"/>
          </p:nvCxnSpPr>
          <p:spPr>
            <a:xfrm>
              <a:off x="-612000" y="18936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9" name="Straight Connector 738"/>
            <p:cNvCxnSpPr/>
            <p:nvPr userDrawn="1"/>
          </p:nvCxnSpPr>
          <p:spPr>
            <a:xfrm>
              <a:off x="-612000" y="3661200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0" name="Straight Connector 739"/>
            <p:cNvCxnSpPr/>
            <p:nvPr userDrawn="1"/>
          </p:nvCxnSpPr>
          <p:spPr>
            <a:xfrm>
              <a:off x="-972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1" name="Group 740"/>
          <p:cNvGrpSpPr/>
          <p:nvPr userDrawn="1"/>
        </p:nvGrpSpPr>
        <p:grpSpPr>
          <a:xfrm>
            <a:off x="9252000" y="-1535"/>
            <a:ext cx="900000" cy="5144400"/>
            <a:chOff x="9252000" y="-1535"/>
            <a:chExt cx="900000" cy="5144400"/>
          </a:xfrm>
        </p:grpSpPr>
        <p:cxnSp>
          <p:nvCxnSpPr>
            <p:cNvPr id="742" name="Straight Connector 741"/>
            <p:cNvCxnSpPr/>
            <p:nvPr userDrawn="1"/>
          </p:nvCxnSpPr>
          <p:spPr>
            <a:xfrm flipH="1">
              <a:off x="9252000" y="7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3" name="Straight Connector 742"/>
            <p:cNvCxnSpPr/>
            <p:nvPr userDrawn="1"/>
          </p:nvCxnSpPr>
          <p:spPr>
            <a:xfrm flipH="1">
              <a:off x="9252000" y="43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4" name="Straight Connector 743"/>
            <p:cNvCxnSpPr/>
            <p:nvPr userDrawn="1"/>
          </p:nvCxnSpPr>
          <p:spPr>
            <a:xfrm flipH="1">
              <a:off x="9252000" y="50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5" name="Straight Connector 744"/>
            <p:cNvCxnSpPr/>
            <p:nvPr userDrawn="1"/>
          </p:nvCxnSpPr>
          <p:spPr>
            <a:xfrm flipH="1">
              <a:off x="9252000" y="610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6" name="Straight Connector 745"/>
            <p:cNvCxnSpPr/>
            <p:nvPr userDrawn="1"/>
          </p:nvCxnSpPr>
          <p:spPr>
            <a:xfrm flipH="1">
              <a:off x="9252000" y="6824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7" name="Straight Connector 746"/>
            <p:cNvCxnSpPr/>
            <p:nvPr userDrawn="1"/>
          </p:nvCxnSpPr>
          <p:spPr>
            <a:xfrm flipH="1">
              <a:off x="9252000" y="10424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8" name="Straight Connector 747"/>
            <p:cNvCxnSpPr/>
            <p:nvPr userDrawn="1"/>
          </p:nvCxnSpPr>
          <p:spPr>
            <a:xfrm flipH="1">
              <a:off x="9252000" y="2097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9" name="Straight Connector 748"/>
            <p:cNvCxnSpPr/>
            <p:nvPr userDrawn="1"/>
          </p:nvCxnSpPr>
          <p:spPr>
            <a:xfrm flipH="1">
              <a:off x="9252000" y="216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0" name="Straight Connector 749"/>
            <p:cNvCxnSpPr/>
            <p:nvPr userDrawn="1"/>
          </p:nvCxnSpPr>
          <p:spPr>
            <a:xfrm flipH="1">
              <a:off x="9252000" y="25292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1" name="Straight Connector 750"/>
            <p:cNvCxnSpPr/>
            <p:nvPr userDrawn="1"/>
          </p:nvCxnSpPr>
          <p:spPr>
            <a:xfrm flipH="1">
              <a:off x="9252000" y="358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2" name="Straight Connector 751"/>
            <p:cNvCxnSpPr/>
            <p:nvPr userDrawn="1"/>
          </p:nvCxnSpPr>
          <p:spPr>
            <a:xfrm flipH="1">
              <a:off x="9252000" y="365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3" name="Straight Connector 752"/>
            <p:cNvCxnSpPr/>
            <p:nvPr userDrawn="1"/>
          </p:nvCxnSpPr>
          <p:spPr>
            <a:xfrm flipH="1">
              <a:off x="9252000" y="4016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4" name="Straight Connector 753"/>
            <p:cNvCxnSpPr/>
            <p:nvPr userDrawn="1"/>
          </p:nvCxnSpPr>
          <p:spPr>
            <a:xfrm flipH="1">
              <a:off x="9252000" y="5070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5" name="Straight Connector 754"/>
            <p:cNvCxnSpPr/>
            <p:nvPr userDrawn="1"/>
          </p:nvCxnSpPr>
          <p:spPr>
            <a:xfrm flipH="1">
              <a:off x="9252000" y="30440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6" name="Straight Connector 755"/>
            <p:cNvCxnSpPr/>
            <p:nvPr userDrawn="1"/>
          </p:nvCxnSpPr>
          <p:spPr>
            <a:xfrm flipH="1">
              <a:off x="9252000" y="4530865"/>
              <a:ext cx="18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7" name="Straight Connector 756"/>
            <p:cNvCxnSpPr/>
            <p:nvPr userDrawn="1"/>
          </p:nvCxnSpPr>
          <p:spPr>
            <a:xfrm flipH="1">
              <a:off x="9252000" y="-153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8" name="Straight Connector 757"/>
            <p:cNvCxnSpPr/>
            <p:nvPr userDrawn="1"/>
          </p:nvCxnSpPr>
          <p:spPr>
            <a:xfrm flipH="1">
              <a:off x="9252000" y="5142865"/>
              <a:ext cx="900000" cy="0"/>
            </a:xfrm>
            <a:prstGeom prst="line">
              <a:avLst/>
            </a:prstGeom>
            <a:ln w="31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9" name="Straight Connector 758"/>
            <p:cNvCxnSpPr/>
            <p:nvPr userDrawn="1"/>
          </p:nvCxnSpPr>
          <p:spPr>
            <a:xfrm flipH="1">
              <a:off x="9396000" y="4458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0" name="Straight Connector 759"/>
            <p:cNvCxnSpPr/>
            <p:nvPr userDrawn="1"/>
          </p:nvCxnSpPr>
          <p:spPr>
            <a:xfrm flipH="1">
              <a:off x="9576000" y="153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1" name="Straight Connector 760"/>
            <p:cNvCxnSpPr/>
            <p:nvPr userDrawn="1"/>
          </p:nvCxnSpPr>
          <p:spPr>
            <a:xfrm flipH="1">
              <a:off x="9756000" y="1532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2" name="Straight Connector 761"/>
            <p:cNvCxnSpPr/>
            <p:nvPr userDrawn="1"/>
          </p:nvCxnSpPr>
          <p:spPr>
            <a:xfrm flipH="1">
              <a:off x="9576000" y="1604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3" name="Straight Connector 762"/>
            <p:cNvCxnSpPr/>
            <p:nvPr userDrawn="1"/>
          </p:nvCxnSpPr>
          <p:spPr>
            <a:xfrm flipH="1">
              <a:off x="9576000" y="329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4" name="Straight Connector 763"/>
            <p:cNvCxnSpPr/>
            <p:nvPr userDrawn="1"/>
          </p:nvCxnSpPr>
          <p:spPr>
            <a:xfrm flipH="1">
              <a:off x="9576000" y="3371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5" name="Straight Connector 764"/>
            <p:cNvCxnSpPr/>
            <p:nvPr userDrawn="1"/>
          </p:nvCxnSpPr>
          <p:spPr>
            <a:xfrm flipH="1">
              <a:off x="9252000" y="2878465"/>
              <a:ext cx="900000" cy="0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6" name="Straight Connector 765"/>
            <p:cNvCxnSpPr/>
            <p:nvPr userDrawn="1"/>
          </p:nvCxnSpPr>
          <p:spPr>
            <a:xfrm flipH="1">
              <a:off x="9756000" y="16040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7" name="Straight Connector 766"/>
            <p:cNvCxnSpPr/>
            <p:nvPr userDrawn="1"/>
          </p:nvCxnSpPr>
          <p:spPr>
            <a:xfrm flipH="1">
              <a:off x="9756000" y="2709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8" name="Straight Connector 767"/>
            <p:cNvCxnSpPr/>
            <p:nvPr userDrawn="1"/>
          </p:nvCxnSpPr>
          <p:spPr>
            <a:xfrm flipH="1">
              <a:off x="9756000" y="27812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9" name="Straight Connector 768"/>
            <p:cNvCxnSpPr/>
            <p:nvPr userDrawn="1"/>
          </p:nvCxnSpPr>
          <p:spPr>
            <a:xfrm flipH="1">
              <a:off x="9756000" y="3886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0" name="Straight Connector 769"/>
            <p:cNvCxnSpPr/>
            <p:nvPr userDrawn="1"/>
          </p:nvCxnSpPr>
          <p:spPr>
            <a:xfrm flipH="1">
              <a:off x="9756000" y="3958465"/>
              <a:ext cx="180000" cy="0"/>
            </a:xfrm>
            <a:prstGeom prst="line">
              <a:avLst/>
            </a:prstGeom>
            <a:ln w="31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1" name="Straight Connector 770"/>
            <p:cNvCxnSpPr/>
            <p:nvPr userDrawn="1"/>
          </p:nvCxnSpPr>
          <p:spPr>
            <a:xfrm flipH="1">
              <a:off x="9396000" y="4530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2" name="Straight Connector 771"/>
            <p:cNvCxnSpPr/>
            <p:nvPr userDrawn="1"/>
          </p:nvCxnSpPr>
          <p:spPr>
            <a:xfrm flipH="1">
              <a:off x="9396000" y="3774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3" name="Straight Connector 772"/>
            <p:cNvCxnSpPr/>
            <p:nvPr userDrawn="1"/>
          </p:nvCxnSpPr>
          <p:spPr>
            <a:xfrm flipH="1">
              <a:off x="9396000" y="3846865"/>
              <a:ext cx="1800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4" name="Straight Connector 773"/>
            <p:cNvCxnSpPr/>
            <p:nvPr userDrawn="1"/>
          </p:nvCxnSpPr>
          <p:spPr>
            <a:xfrm flipH="1">
              <a:off x="9936000" y="1172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5" name="Straight Connector 774"/>
            <p:cNvCxnSpPr/>
            <p:nvPr userDrawn="1"/>
          </p:nvCxnSpPr>
          <p:spPr>
            <a:xfrm flipH="1">
              <a:off x="9936000" y="124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6" name="Straight Connector 775"/>
            <p:cNvCxnSpPr/>
            <p:nvPr userDrawn="1"/>
          </p:nvCxnSpPr>
          <p:spPr>
            <a:xfrm flipH="1">
              <a:off x="9936000" y="31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7" name="Straight Connector 776"/>
            <p:cNvCxnSpPr/>
            <p:nvPr userDrawn="1"/>
          </p:nvCxnSpPr>
          <p:spPr>
            <a:xfrm flipH="1">
              <a:off x="9936000" y="319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8" name="Straight Connector 777"/>
            <p:cNvCxnSpPr/>
            <p:nvPr userDrawn="1"/>
          </p:nvCxnSpPr>
          <p:spPr>
            <a:xfrm flipH="1">
              <a:off x="9936000" y="14240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9" name="Straight Connector 778"/>
            <p:cNvCxnSpPr/>
            <p:nvPr userDrawn="1"/>
          </p:nvCxnSpPr>
          <p:spPr>
            <a:xfrm flipH="1">
              <a:off x="9936000" y="3375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0" name="Straight Connector 779"/>
            <p:cNvCxnSpPr/>
            <p:nvPr userDrawn="1"/>
          </p:nvCxnSpPr>
          <p:spPr>
            <a:xfrm flipH="1">
              <a:off x="9936000" y="2471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1" name="Straight Connector 780"/>
            <p:cNvCxnSpPr/>
            <p:nvPr userDrawn="1"/>
          </p:nvCxnSpPr>
          <p:spPr>
            <a:xfrm flipH="1">
              <a:off x="9936000" y="25436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2" name="Straight Connector 781"/>
            <p:cNvCxnSpPr/>
            <p:nvPr userDrawn="1"/>
          </p:nvCxnSpPr>
          <p:spPr>
            <a:xfrm flipH="1">
              <a:off x="9936000" y="3771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3" name="Straight Connector 782"/>
            <p:cNvCxnSpPr/>
            <p:nvPr userDrawn="1"/>
          </p:nvCxnSpPr>
          <p:spPr>
            <a:xfrm flipH="1">
              <a:off x="9936000" y="384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4" name="Straight Connector 783"/>
            <p:cNvCxnSpPr/>
            <p:nvPr userDrawn="1"/>
          </p:nvCxnSpPr>
          <p:spPr>
            <a:xfrm flipH="1">
              <a:off x="9936000" y="4023265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5" name="Straight Connector 784"/>
            <p:cNvCxnSpPr/>
            <p:nvPr userDrawn="1"/>
          </p:nvCxnSpPr>
          <p:spPr>
            <a:xfrm flipH="1">
              <a:off x="9576000" y="18920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6" name="Straight Connector 785"/>
            <p:cNvCxnSpPr/>
            <p:nvPr userDrawn="1"/>
          </p:nvCxnSpPr>
          <p:spPr>
            <a:xfrm flipH="1">
              <a:off x="9576000" y="3659665"/>
              <a:ext cx="180000" cy="0"/>
            </a:xfrm>
            <a:prstGeom prst="line">
              <a:avLst/>
            </a:prstGeom>
            <a:ln w="3175">
              <a:solidFill>
                <a:srgbClr val="ECFE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7" name="Straight Connector 786"/>
            <p:cNvCxnSpPr/>
            <p:nvPr userDrawn="1"/>
          </p:nvCxnSpPr>
          <p:spPr>
            <a:xfrm flipH="1">
              <a:off x="9936000" y="1605600"/>
              <a:ext cx="180000" cy="0"/>
            </a:xfrm>
            <a:prstGeom prst="line">
              <a:avLst/>
            </a:prstGeom>
            <a:ln w="31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9" name="Rectangle 208"/>
          <p:cNvSpPr/>
          <p:nvPr userDrawn="1"/>
        </p:nvSpPr>
        <p:spPr>
          <a:xfrm>
            <a:off x="120587" y="684865"/>
            <a:ext cx="484548" cy="99059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63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29" r:id="rId2"/>
    <p:sldLayoutId id="2147483728" r:id="rId3"/>
    <p:sldLayoutId id="2147483730" r:id="rId4"/>
    <p:sldLayoutId id="2147483727" r:id="rId5"/>
    <p:sldLayoutId id="2147483719" r:id="rId6"/>
    <p:sldLayoutId id="2147483721" r:id="rId7"/>
    <p:sldLayoutId id="2147483723" r:id="rId8"/>
    <p:sldLayoutId id="2147483736" r:id="rId9"/>
    <p:sldLayoutId id="2147483731" r:id="rId10"/>
    <p:sldLayoutId id="2147483724" r:id="rId11"/>
    <p:sldLayoutId id="2147483732" r:id="rId12"/>
    <p:sldLayoutId id="2147483725" r:id="rId13"/>
    <p:sldLayoutId id="2147483737" r:id="rId14"/>
    <p:sldLayoutId id="2147483733" r:id="rId15"/>
    <p:sldLayoutId id="2147483738" r:id="rId16"/>
  </p:sldLayoutIdLst>
  <p:hf sldNum="0" hdr="0" dt="0"/>
  <p:txStyles>
    <p:titleStyle>
      <a:lvl1pPr marL="0" indent="0" algn="l" defTabSz="914400" rtl="0" eaLnBrk="1" latinLnBrk="0" hangingPunct="1">
        <a:spcBef>
          <a:spcPct val="0"/>
        </a:spcBef>
        <a:buNone/>
        <a:defRPr lang="en-US" sz="2400" kern="1200" dirty="0">
          <a:solidFill>
            <a:schemeClr val="accent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180000" marR="0" indent="-1080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1pPr>
      <a:lvl2pPr marL="449263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Helvetica" panose="020B0604020202020204" pitchFamily="34" charset="0"/>
        <a:buChar char="-"/>
        <a:tabLst/>
        <a:defRPr sz="10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808038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80000"/>
        <a:buFont typeface="Calibri" pitchFamily="34" charset="0"/>
        <a:buChar char="ο"/>
        <a:tabLst/>
        <a:defRPr sz="9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1165225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Char char="-"/>
        <a:tabLst/>
        <a:defRPr sz="8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1524000" marR="0" indent="-1143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80000"/>
        <a:buFont typeface="Wingdings" pitchFamily="2" charset="2"/>
        <a:buChar char="§"/>
        <a:tabLst/>
        <a:defRPr sz="7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0" indent="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-108000" algn="l" defTabSz="914400" rtl="0" eaLnBrk="1" latinLnBrk="0" hangingPunct="1">
        <a:spcBef>
          <a:spcPts val="0"/>
        </a:spcBef>
        <a:buFont typeface="Calibri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1074420" algn="ctr">
              <a:lnSpc>
                <a:spcPts val="2000"/>
              </a:lnSpc>
              <a:spcBef>
                <a:spcPts val="0"/>
              </a:spcBef>
            </a:pPr>
            <a:endParaRPr lang="en-US" sz="3600" dirty="0">
              <a:cs typeface="Helvetica"/>
            </a:endParaRPr>
          </a:p>
          <a:p>
            <a:pPr marL="1074420" algn="ctr">
              <a:spcBef>
                <a:spcPts val="0"/>
              </a:spcBef>
            </a:pPr>
            <a:endParaRPr lang="en-US" sz="3600" dirty="0">
              <a:cs typeface="Helvetica"/>
            </a:endParaRPr>
          </a:p>
          <a:p>
            <a:pPr marL="1074420" algn="ctr">
              <a:spcBef>
                <a:spcPts val="0"/>
              </a:spcBef>
            </a:pPr>
            <a:r>
              <a:rPr lang="en-US" sz="3600" dirty="0"/>
              <a:t> </a:t>
            </a:r>
            <a:r>
              <a:rPr lang="en-US" sz="3600" dirty="0" smtClean="0"/>
              <a:t>DEMO DATA OVERVIEW</a:t>
            </a:r>
            <a:endParaRPr lang="en-US" sz="3600" dirty="0" smtClean="0">
              <a:cs typeface="Helvetica"/>
            </a:endParaRPr>
          </a:p>
          <a:p>
            <a:pPr marL="1074420" algn="ctr">
              <a:lnSpc>
                <a:spcPts val="2000"/>
              </a:lnSpc>
              <a:spcBef>
                <a:spcPts val="0"/>
              </a:spcBef>
            </a:pPr>
            <a:endParaRPr lang="en-US" sz="3600" dirty="0" smtClean="0">
              <a:cs typeface="Helvetica"/>
            </a:endParaRPr>
          </a:p>
          <a:p>
            <a:pPr marL="1074420" algn="ctr">
              <a:lnSpc>
                <a:spcPts val="2000"/>
              </a:lnSpc>
              <a:spcBef>
                <a:spcPts val="0"/>
              </a:spcBef>
            </a:pPr>
            <a:r>
              <a:rPr lang="en-US" sz="3600" dirty="0" smtClean="0"/>
              <a:t>-</a:t>
            </a:r>
            <a:endParaRPr lang="en-US" sz="3600" dirty="0">
              <a:cs typeface="Helvetica"/>
            </a:endParaRPr>
          </a:p>
          <a:p>
            <a:pPr marL="1074420" algn="ctr">
              <a:lnSpc>
                <a:spcPts val="2000"/>
              </a:lnSpc>
              <a:spcBef>
                <a:spcPts val="0"/>
              </a:spcBef>
            </a:pPr>
            <a:endParaRPr lang="en-US" sz="3600" dirty="0">
              <a:cs typeface="Helvetica"/>
            </a:endParaRPr>
          </a:p>
          <a:p>
            <a:pPr marL="1074420" algn="ctr">
              <a:lnSpc>
                <a:spcPts val="2000"/>
              </a:lnSpc>
              <a:spcBef>
                <a:spcPts val="0"/>
              </a:spcBef>
            </a:pPr>
            <a:r>
              <a:rPr lang="en-US" sz="3600" dirty="0" smtClean="0"/>
              <a:t>08/04/2019</a:t>
            </a:r>
            <a:endParaRPr lang="en-US" sz="3600" dirty="0">
              <a:cs typeface="Helvetic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i="1" dirty="0">
                <a:latin typeface="Cambria" panose="02040503050406030204" pitchFamily="18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4198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v</a:t>
            </a:r>
            <a:r>
              <a:rPr lang="en-US" dirty="0" err="1" smtClean="0"/>
              <a:t>cls-hr</a:t>
            </a:r>
            <a:r>
              <a:rPr lang="en-US" dirty="0" smtClean="0"/>
              <a:t> modu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33340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07607" y="559213"/>
            <a:ext cx="1288833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ne_FR</a:t>
            </a:r>
            <a:r>
              <a:rPr lang="en-US" sz="1100" b="1" dirty="0" smtClean="0"/>
              <a:t> CEO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</a:t>
            </a:r>
            <a:r>
              <a:rPr lang="en-US" sz="1000" dirty="0" err="1"/>
              <a:t>e</a:t>
            </a:r>
            <a:r>
              <a:rPr lang="en-US" sz="1000" dirty="0" err="1" smtClean="0"/>
              <a:t>mployee_ceo</a:t>
            </a:r>
            <a:endParaRPr lang="en-GB" sz="1000" dirty="0"/>
          </a:p>
        </p:txBody>
      </p:sp>
      <p:sp>
        <p:nvSpPr>
          <p:cNvPr id="7" name="Rectangle 6"/>
          <p:cNvSpPr/>
          <p:nvPr/>
        </p:nvSpPr>
        <p:spPr>
          <a:xfrm>
            <a:off x="2278379" y="559213"/>
            <a:ext cx="170702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FR_IT</a:t>
            </a:r>
            <a:r>
              <a:rPr lang="en-US" sz="1100" b="1" dirty="0" smtClean="0"/>
              <a:t> Head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head_01</a:t>
            </a:r>
            <a:endParaRPr lang="en-GB" sz="1000" dirty="0"/>
          </a:p>
        </p:txBody>
      </p:sp>
      <p:sp>
        <p:nvSpPr>
          <p:cNvPr id="8" name="Rectangle 7"/>
          <p:cNvSpPr/>
          <p:nvPr/>
        </p:nvSpPr>
        <p:spPr>
          <a:xfrm>
            <a:off x="2278379" y="2138649"/>
            <a:ext cx="1707021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ne_CH_QA</a:t>
            </a:r>
            <a:r>
              <a:rPr lang="en-US" sz="1100" b="1" dirty="0" smtClean="0"/>
              <a:t> Head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head_02</a:t>
            </a:r>
            <a:endParaRPr lang="en-GB" sz="1000" dirty="0"/>
          </a:p>
        </p:txBody>
      </p:sp>
      <p:sp>
        <p:nvSpPr>
          <p:cNvPr id="10" name="Rectangle 9"/>
          <p:cNvSpPr/>
          <p:nvPr/>
        </p:nvSpPr>
        <p:spPr>
          <a:xfrm>
            <a:off x="4267200" y="559213"/>
            <a:ext cx="1463041" cy="36000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INC_IT</a:t>
            </a:r>
            <a:r>
              <a:rPr lang="en-US" sz="1100" b="1" dirty="0" smtClean="0"/>
              <a:t> LM2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M2_01</a:t>
            </a:r>
            <a:endParaRPr lang="en-GB" sz="1000" dirty="0"/>
          </a:p>
        </p:txBody>
      </p:sp>
      <p:sp>
        <p:nvSpPr>
          <p:cNvPr id="11" name="Rectangle 10"/>
          <p:cNvSpPr/>
          <p:nvPr/>
        </p:nvSpPr>
        <p:spPr>
          <a:xfrm>
            <a:off x="4267199" y="1084993"/>
            <a:ext cx="1463041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FR_IT</a:t>
            </a:r>
            <a:r>
              <a:rPr lang="en-US" sz="1100" b="1" dirty="0" smtClean="0"/>
              <a:t> LM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M_01</a:t>
            </a:r>
            <a:endParaRPr lang="en-GB" sz="1000" dirty="0"/>
          </a:p>
        </p:txBody>
      </p:sp>
      <p:sp>
        <p:nvSpPr>
          <p:cNvPr id="12" name="Rectangle 11"/>
          <p:cNvSpPr/>
          <p:nvPr/>
        </p:nvSpPr>
        <p:spPr>
          <a:xfrm>
            <a:off x="6012042" y="559213"/>
            <a:ext cx="1463041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ne_CH_IT</a:t>
            </a:r>
            <a:r>
              <a:rPr lang="en-US" sz="1100" b="1" dirty="0" smtClean="0"/>
              <a:t> LM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M_02</a:t>
            </a:r>
            <a:endParaRPr lang="en-GB" sz="1000" dirty="0"/>
          </a:p>
        </p:txBody>
      </p:sp>
      <p:sp>
        <p:nvSpPr>
          <p:cNvPr id="13" name="Rectangle 12"/>
          <p:cNvSpPr/>
          <p:nvPr/>
        </p:nvSpPr>
        <p:spPr>
          <a:xfrm>
            <a:off x="7756884" y="559213"/>
            <a:ext cx="1387116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in_FR_IT</a:t>
            </a:r>
            <a:r>
              <a:rPr lang="en-US" sz="1100" b="1" dirty="0" smtClean="0"/>
              <a:t> Base</a:t>
            </a:r>
          </a:p>
          <a:p>
            <a:pPr algn="just"/>
            <a:r>
              <a:rPr lang="en-US" sz="1000" dirty="0" smtClean="0"/>
              <a:t>id: </a:t>
            </a:r>
            <a:r>
              <a:rPr lang="en-US" sz="900" dirty="0" smtClean="0"/>
              <a:t>employee_base_03</a:t>
            </a:r>
            <a:endParaRPr lang="en-GB" sz="900" dirty="0"/>
          </a:p>
        </p:txBody>
      </p:sp>
      <p:sp>
        <p:nvSpPr>
          <p:cNvPr id="14" name="Rectangle 13"/>
          <p:cNvSpPr/>
          <p:nvPr/>
        </p:nvSpPr>
        <p:spPr>
          <a:xfrm>
            <a:off x="6012041" y="1084993"/>
            <a:ext cx="1569859" cy="36000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INC_IT</a:t>
            </a:r>
            <a:r>
              <a:rPr lang="en-US" sz="1100" b="1" dirty="0" smtClean="0"/>
              <a:t> Base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base_01</a:t>
            </a:r>
            <a:endParaRPr lang="en-GB" sz="1000" dirty="0"/>
          </a:p>
        </p:txBody>
      </p:sp>
      <p:sp>
        <p:nvSpPr>
          <p:cNvPr id="15" name="Rectangle 14"/>
          <p:cNvSpPr/>
          <p:nvPr/>
        </p:nvSpPr>
        <p:spPr>
          <a:xfrm>
            <a:off x="6012041" y="1611821"/>
            <a:ext cx="1569859" cy="36000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ne_INC_IT</a:t>
            </a:r>
            <a:r>
              <a:rPr lang="en-US" sz="1100" b="1" dirty="0" smtClean="0"/>
              <a:t> Base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base_02</a:t>
            </a:r>
            <a:endParaRPr lang="en-GB" sz="1000" dirty="0"/>
          </a:p>
        </p:txBody>
      </p:sp>
      <p:sp>
        <p:nvSpPr>
          <p:cNvPr id="16" name="Rectangle 15"/>
          <p:cNvSpPr/>
          <p:nvPr/>
        </p:nvSpPr>
        <p:spPr>
          <a:xfrm>
            <a:off x="4267199" y="2138649"/>
            <a:ext cx="1463041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00" b="1" dirty="0" err="1" smtClean="0"/>
              <a:t>Jeanne_CH_QA</a:t>
            </a:r>
            <a:r>
              <a:rPr lang="en-US" sz="1000" b="1" dirty="0" smtClean="0"/>
              <a:t> LM2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M2_02</a:t>
            </a:r>
            <a:endParaRPr lang="en-GB" sz="1000" dirty="0"/>
          </a:p>
        </p:txBody>
      </p:sp>
      <p:sp>
        <p:nvSpPr>
          <p:cNvPr id="17" name="Rectangle 16"/>
          <p:cNvSpPr/>
          <p:nvPr/>
        </p:nvSpPr>
        <p:spPr>
          <a:xfrm>
            <a:off x="6012039" y="2137792"/>
            <a:ext cx="1569861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CH_QA</a:t>
            </a:r>
            <a:r>
              <a:rPr lang="en-US" sz="1100" b="1" dirty="0" smtClean="0"/>
              <a:t> LM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M_03</a:t>
            </a:r>
            <a:endParaRPr lang="en-GB" sz="1000" dirty="0"/>
          </a:p>
        </p:txBody>
      </p:sp>
      <p:sp>
        <p:nvSpPr>
          <p:cNvPr id="18" name="Rectangle 17"/>
          <p:cNvSpPr/>
          <p:nvPr/>
        </p:nvSpPr>
        <p:spPr>
          <a:xfrm>
            <a:off x="6012039" y="2682622"/>
            <a:ext cx="1569861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ne_CH_QA</a:t>
            </a:r>
            <a:r>
              <a:rPr lang="en-US" sz="1100" b="1" dirty="0" smtClean="0"/>
              <a:t> LM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M_04</a:t>
            </a:r>
            <a:endParaRPr lang="en-GB" sz="1000" dirty="0"/>
          </a:p>
        </p:txBody>
      </p:sp>
      <p:sp>
        <p:nvSpPr>
          <p:cNvPr id="19" name="Rectangle 18"/>
          <p:cNvSpPr/>
          <p:nvPr/>
        </p:nvSpPr>
        <p:spPr>
          <a:xfrm>
            <a:off x="7756879" y="2137792"/>
            <a:ext cx="1387116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00" b="1" dirty="0" err="1" smtClean="0"/>
              <a:t>Jean_CH_QA</a:t>
            </a:r>
            <a:r>
              <a:rPr lang="en-US" sz="1000" b="1" dirty="0" smtClean="0"/>
              <a:t> Base</a:t>
            </a:r>
          </a:p>
          <a:p>
            <a:pPr algn="just"/>
            <a:r>
              <a:rPr lang="en-US" sz="1000" dirty="0" smtClean="0"/>
              <a:t>id: </a:t>
            </a:r>
            <a:r>
              <a:rPr lang="en-US" sz="900" dirty="0" smtClean="0"/>
              <a:t>employee_base_04</a:t>
            </a:r>
            <a:endParaRPr lang="en-GB" sz="900" dirty="0"/>
          </a:p>
        </p:txBody>
      </p:sp>
      <p:sp>
        <p:nvSpPr>
          <p:cNvPr id="20" name="Rectangle 19"/>
          <p:cNvSpPr/>
          <p:nvPr/>
        </p:nvSpPr>
        <p:spPr>
          <a:xfrm>
            <a:off x="7756884" y="2682622"/>
            <a:ext cx="1387116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900" b="1" dirty="0" err="1" smtClean="0"/>
              <a:t>Jeanne_CH_QA</a:t>
            </a:r>
            <a:r>
              <a:rPr lang="en-US" sz="900" b="1" dirty="0" smtClean="0"/>
              <a:t> Base</a:t>
            </a:r>
          </a:p>
          <a:p>
            <a:pPr algn="just"/>
            <a:r>
              <a:rPr lang="en-US" sz="1000" dirty="0" smtClean="0"/>
              <a:t>id: </a:t>
            </a:r>
            <a:r>
              <a:rPr lang="en-US" sz="900" dirty="0" smtClean="0"/>
              <a:t>employee_base_05</a:t>
            </a:r>
            <a:endParaRPr lang="en-GB" sz="900" dirty="0"/>
          </a:p>
        </p:txBody>
      </p:sp>
      <p:sp>
        <p:nvSpPr>
          <p:cNvPr id="21" name="Rectangle 20"/>
          <p:cNvSpPr/>
          <p:nvPr/>
        </p:nvSpPr>
        <p:spPr>
          <a:xfrm>
            <a:off x="2278377" y="3228691"/>
            <a:ext cx="1707022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FR_HR</a:t>
            </a:r>
            <a:r>
              <a:rPr lang="en-US" sz="1100" b="1" dirty="0" smtClean="0"/>
              <a:t> Global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global_hr_01</a:t>
            </a:r>
            <a:endParaRPr lang="en-GB" sz="1000" dirty="0"/>
          </a:p>
        </p:txBody>
      </p:sp>
      <p:cxnSp>
        <p:nvCxnSpPr>
          <p:cNvPr id="23" name="Straight Arrow Connector 22"/>
          <p:cNvCxnSpPr>
            <a:stCxn id="6" idx="3"/>
            <a:endCxn id="7" idx="1"/>
          </p:cNvCxnSpPr>
          <p:nvPr/>
        </p:nvCxnSpPr>
        <p:spPr>
          <a:xfrm>
            <a:off x="1996440" y="739213"/>
            <a:ext cx="28193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4267199" y="3228691"/>
            <a:ext cx="1744840" cy="36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ne_CH_HR</a:t>
            </a:r>
            <a:r>
              <a:rPr lang="en-US" sz="1100" b="1" dirty="0" smtClean="0"/>
              <a:t> Local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ocal_hr_01</a:t>
            </a:r>
            <a:endParaRPr lang="en-GB" sz="1000" dirty="0"/>
          </a:p>
        </p:txBody>
      </p:sp>
      <p:sp>
        <p:nvSpPr>
          <p:cNvPr id="29" name="Rectangle 28"/>
          <p:cNvSpPr/>
          <p:nvPr/>
        </p:nvSpPr>
        <p:spPr>
          <a:xfrm>
            <a:off x="4267199" y="3754471"/>
            <a:ext cx="1744840" cy="36000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100" b="1" dirty="0" err="1" smtClean="0"/>
              <a:t>Jean_INC_HR</a:t>
            </a:r>
            <a:r>
              <a:rPr lang="en-US" sz="1100" b="1" dirty="0" smtClean="0"/>
              <a:t> Local</a:t>
            </a:r>
          </a:p>
          <a:p>
            <a:pPr algn="just"/>
            <a:r>
              <a:rPr lang="en-US" sz="1000" dirty="0"/>
              <a:t>i</a:t>
            </a:r>
            <a:r>
              <a:rPr lang="en-US" sz="1000" dirty="0" smtClean="0"/>
              <a:t>d: employee_local_hr_02</a:t>
            </a:r>
            <a:endParaRPr lang="en-GB" sz="1000" dirty="0"/>
          </a:p>
        </p:txBody>
      </p:sp>
      <p:cxnSp>
        <p:nvCxnSpPr>
          <p:cNvPr id="31" name="Straight Arrow Connector 30"/>
          <p:cNvCxnSpPr>
            <a:stCxn id="7" idx="3"/>
            <a:endCxn id="10" idx="1"/>
          </p:cNvCxnSpPr>
          <p:nvPr/>
        </p:nvCxnSpPr>
        <p:spPr>
          <a:xfrm>
            <a:off x="3985399" y="739213"/>
            <a:ext cx="28180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7" idx="3"/>
            <a:endCxn id="11" idx="1"/>
          </p:cNvCxnSpPr>
          <p:nvPr/>
        </p:nvCxnSpPr>
        <p:spPr>
          <a:xfrm>
            <a:off x="3985399" y="739213"/>
            <a:ext cx="281800" cy="52578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6" idx="3"/>
            <a:endCxn id="21" idx="1"/>
          </p:cNvCxnSpPr>
          <p:nvPr/>
        </p:nvCxnSpPr>
        <p:spPr>
          <a:xfrm>
            <a:off x="1996440" y="739213"/>
            <a:ext cx="281937" cy="266947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6" idx="3"/>
            <a:endCxn id="8" idx="1"/>
          </p:cNvCxnSpPr>
          <p:nvPr/>
        </p:nvCxnSpPr>
        <p:spPr>
          <a:xfrm>
            <a:off x="1996440" y="739213"/>
            <a:ext cx="281939" cy="1579436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10" idx="3"/>
            <a:endCxn id="12" idx="1"/>
          </p:cNvCxnSpPr>
          <p:nvPr/>
        </p:nvCxnSpPr>
        <p:spPr>
          <a:xfrm>
            <a:off x="5730241" y="739213"/>
            <a:ext cx="28180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12" idx="3"/>
            <a:endCxn id="13" idx="1"/>
          </p:cNvCxnSpPr>
          <p:nvPr/>
        </p:nvCxnSpPr>
        <p:spPr>
          <a:xfrm>
            <a:off x="7475083" y="739213"/>
            <a:ext cx="28180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11" idx="3"/>
            <a:endCxn id="14" idx="1"/>
          </p:cNvCxnSpPr>
          <p:nvPr/>
        </p:nvCxnSpPr>
        <p:spPr>
          <a:xfrm>
            <a:off x="5730240" y="1264993"/>
            <a:ext cx="28180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11" idx="3"/>
            <a:endCxn id="15" idx="1"/>
          </p:cNvCxnSpPr>
          <p:nvPr/>
        </p:nvCxnSpPr>
        <p:spPr>
          <a:xfrm>
            <a:off x="5730240" y="1264993"/>
            <a:ext cx="281801" cy="526828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8" idx="3"/>
            <a:endCxn id="16" idx="1"/>
          </p:cNvCxnSpPr>
          <p:nvPr/>
        </p:nvCxnSpPr>
        <p:spPr>
          <a:xfrm>
            <a:off x="3985400" y="2318649"/>
            <a:ext cx="28179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16" idx="3"/>
            <a:endCxn id="18" idx="1"/>
          </p:cNvCxnSpPr>
          <p:nvPr/>
        </p:nvCxnSpPr>
        <p:spPr>
          <a:xfrm>
            <a:off x="5730240" y="2318649"/>
            <a:ext cx="281799" cy="543973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6" idx="3"/>
            <a:endCxn id="17" idx="1"/>
          </p:cNvCxnSpPr>
          <p:nvPr/>
        </p:nvCxnSpPr>
        <p:spPr>
          <a:xfrm flipV="1">
            <a:off x="5730240" y="2317792"/>
            <a:ext cx="281799" cy="85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17" idx="3"/>
            <a:endCxn id="19" idx="1"/>
          </p:cNvCxnSpPr>
          <p:nvPr/>
        </p:nvCxnSpPr>
        <p:spPr>
          <a:xfrm>
            <a:off x="7581900" y="2317792"/>
            <a:ext cx="17497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18" idx="3"/>
            <a:endCxn id="20" idx="1"/>
          </p:cNvCxnSpPr>
          <p:nvPr/>
        </p:nvCxnSpPr>
        <p:spPr>
          <a:xfrm>
            <a:off x="7581900" y="2862622"/>
            <a:ext cx="17498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21" idx="3"/>
            <a:endCxn id="29" idx="1"/>
          </p:cNvCxnSpPr>
          <p:nvPr/>
        </p:nvCxnSpPr>
        <p:spPr>
          <a:xfrm>
            <a:off x="3985399" y="3408691"/>
            <a:ext cx="281800" cy="52578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21" idx="3"/>
            <a:endCxn id="28" idx="1"/>
          </p:cNvCxnSpPr>
          <p:nvPr/>
        </p:nvCxnSpPr>
        <p:spPr>
          <a:xfrm>
            <a:off x="3985399" y="3408691"/>
            <a:ext cx="28180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707607" y="4410074"/>
            <a:ext cx="540000" cy="54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Rectangle 62"/>
          <p:cNvSpPr/>
          <p:nvPr/>
        </p:nvSpPr>
        <p:spPr>
          <a:xfrm>
            <a:off x="3586299" y="4410074"/>
            <a:ext cx="540000" cy="540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Rectangle 63"/>
          <p:cNvSpPr/>
          <p:nvPr/>
        </p:nvSpPr>
        <p:spPr>
          <a:xfrm>
            <a:off x="6464991" y="4410074"/>
            <a:ext cx="540000" cy="54000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TextBox 64"/>
          <p:cNvSpPr txBox="1"/>
          <p:nvPr/>
        </p:nvSpPr>
        <p:spPr>
          <a:xfrm>
            <a:off x="1247607" y="4410074"/>
            <a:ext cx="11592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France</a:t>
            </a:r>
          </a:p>
          <a:p>
            <a:r>
              <a:rPr lang="en-US" dirty="0" smtClean="0"/>
              <a:t>Boulogne</a:t>
            </a:r>
            <a:endParaRPr lang="en-GB" dirty="0"/>
          </a:p>
        </p:txBody>
      </p:sp>
      <p:sp>
        <p:nvSpPr>
          <p:cNvPr id="66" name="TextBox 65"/>
          <p:cNvSpPr txBox="1"/>
          <p:nvPr/>
        </p:nvSpPr>
        <p:spPr>
          <a:xfrm>
            <a:off x="4126299" y="4410073"/>
            <a:ext cx="14670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witzerland</a:t>
            </a:r>
          </a:p>
          <a:p>
            <a:r>
              <a:rPr lang="en-US" dirty="0" smtClean="0"/>
              <a:t>Lausanne</a:t>
            </a:r>
            <a:endParaRPr lang="en-GB" dirty="0"/>
          </a:p>
        </p:txBody>
      </p:sp>
      <p:sp>
        <p:nvSpPr>
          <p:cNvPr id="67" name="TextBox 66"/>
          <p:cNvSpPr txBox="1"/>
          <p:nvPr/>
        </p:nvSpPr>
        <p:spPr>
          <a:xfrm>
            <a:off x="7004991" y="4400546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India</a:t>
            </a:r>
          </a:p>
          <a:p>
            <a:r>
              <a:rPr lang="en-US" dirty="0" smtClean="0"/>
              <a:t>Bangalore</a:t>
            </a:r>
            <a:endParaRPr lang="en-GB" dirty="0"/>
          </a:p>
        </p:txBody>
      </p:sp>
      <p:sp>
        <p:nvSpPr>
          <p:cNvPr id="68" name="Title 1"/>
          <p:cNvSpPr txBox="1">
            <a:spLocks/>
          </p:cNvSpPr>
          <p:nvPr/>
        </p:nvSpPr>
        <p:spPr>
          <a:xfrm>
            <a:off x="72000" y="72000"/>
            <a:ext cx="9000000" cy="360001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Employee’s tre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64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wfbagkewKgBwV1Ex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Y.HvFzn0KiIX4tD.Qc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wfbagkewKgBwV1Ex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Y.HvFzn0KiIX4tD.Qc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Y.HvFzn0KiIX4tD.Qc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wfbagkewKgBwV1Ex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Y.HvFzn0KiIX4tD.Qc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wfbagkewKgBwV1Ex1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wfbagkewKgBwV1Ex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zKi1FA8EWsX_WvuKeR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Y.HvFzn0KiIX4tD.Qcz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VCLS master#1 (size 18)">
  <a:themeElements>
    <a:clrScheme name="VCLS Draft 3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8206E"/>
      </a:accent1>
      <a:accent2>
        <a:srgbClr val="FFFFFF"/>
      </a:accent2>
      <a:accent3>
        <a:srgbClr val="2CEB89"/>
      </a:accent3>
      <a:accent4>
        <a:srgbClr val="C00000"/>
      </a:accent4>
      <a:accent5>
        <a:srgbClr val="11B35E"/>
      </a:accent5>
      <a:accent6>
        <a:srgbClr val="B4B4B4"/>
      </a:accent6>
      <a:hlink>
        <a:srgbClr val="0000FF"/>
      </a:hlink>
      <a:folHlink>
        <a:srgbClr val="7030A0"/>
      </a:folHlink>
    </a:clrScheme>
    <a:fontScheme name="VCLS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VCLS master#2 (size 12)">
  <a:themeElements>
    <a:clrScheme name="VCLS Draft 3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8206E"/>
      </a:accent1>
      <a:accent2>
        <a:srgbClr val="FFFFFF"/>
      </a:accent2>
      <a:accent3>
        <a:srgbClr val="2CEB89"/>
      </a:accent3>
      <a:accent4>
        <a:srgbClr val="C00000"/>
      </a:accent4>
      <a:accent5>
        <a:srgbClr val="11B35E"/>
      </a:accent5>
      <a:accent6>
        <a:srgbClr val="B4B4B4"/>
      </a:accent6>
      <a:hlink>
        <a:srgbClr val="0000FF"/>
      </a:hlink>
      <a:folHlink>
        <a:srgbClr val="7030A0"/>
      </a:folHlink>
    </a:clrScheme>
    <a:fontScheme name="VCLS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VCLS master#3 (size 11)">
  <a:themeElements>
    <a:clrScheme name="VCLS Draft 3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8206E"/>
      </a:accent1>
      <a:accent2>
        <a:srgbClr val="FFFFFF"/>
      </a:accent2>
      <a:accent3>
        <a:srgbClr val="2CEB89"/>
      </a:accent3>
      <a:accent4>
        <a:srgbClr val="C00000"/>
      </a:accent4>
      <a:accent5>
        <a:srgbClr val="11B35E"/>
      </a:accent5>
      <a:accent6>
        <a:srgbClr val="B4B4B4"/>
      </a:accent6>
      <a:hlink>
        <a:srgbClr val="0000FF"/>
      </a:hlink>
      <a:folHlink>
        <a:srgbClr val="7030A0"/>
      </a:folHlink>
    </a:clrScheme>
    <a:fontScheme name="VCLS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1BD4CFAEED9745ACEDC0EEB80CCAD3" ma:contentTypeVersion="6" ma:contentTypeDescription="Create a new document." ma:contentTypeScope="" ma:versionID="cb4bf50883fb0112e0e110d4e40c275a">
  <xsd:schema xmlns:xsd="http://www.w3.org/2001/XMLSchema" xmlns:xs="http://www.w3.org/2001/XMLSchema" xmlns:p="http://schemas.microsoft.com/office/2006/metadata/properties" xmlns:ns2="1b7a9b87-5742-4c3b-85b0-d3c4be06c6e8" xmlns:ns3="845a965e-0e76-4dc8-846c-6c06fcb09a43" targetNamespace="http://schemas.microsoft.com/office/2006/metadata/properties" ma:root="true" ma:fieldsID="ee4a04662f69b4752182709b1f649167" ns2:_="" ns3:_="">
    <xsd:import namespace="1b7a9b87-5742-4c3b-85b0-d3c4be06c6e8"/>
    <xsd:import namespace="845a965e-0e76-4dc8-846c-6c06fcb09a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7a9b87-5742-4c3b-85b0-d3c4be06c6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5a965e-0e76-4dc8-846c-6c06fcb09a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024378A-1B3C-4502-8510-4D3706E2CCBE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9854428-49BA-48D0-8C81-A04CC79DB4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99E703-A5D8-4922-B4B1-21883180D9D9}">
  <ds:schemaRefs>
    <ds:schemaRef ds:uri="1b7a9b87-5742-4c3b-85b0-d3c4be06c6e8"/>
    <ds:schemaRef ds:uri="845a965e-0e76-4dc8-846c-6c06fcb09a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8 Power Point Presentation v15</Template>
  <TotalTime>502</TotalTime>
  <Words>102</Words>
  <Application>Microsoft Office PowerPoint</Application>
  <PresentationFormat>On-screen Show (16:9)</PresentationFormat>
  <Paragraphs>50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mbria</vt:lpstr>
      <vt:lpstr>Courier New</vt:lpstr>
      <vt:lpstr>Helvetica</vt:lpstr>
      <vt:lpstr>Wingdings</vt:lpstr>
      <vt:lpstr>VCLS master#1 (size 18)</vt:lpstr>
      <vt:lpstr>VCLS master#2 (size 12)</vt:lpstr>
      <vt:lpstr>VCLS master#3 (size 11)</vt:lpstr>
      <vt:lpstr>PowerPoint Presentation</vt:lpstr>
      <vt:lpstr>PowerPoint Presentation</vt:lpstr>
      <vt:lpstr>PowerPoint Presentation</vt:lpstr>
    </vt:vector>
  </TitlesOfParts>
  <Manager>Dinesh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ébastien SCHWEITZER</dc:creator>
  <cp:lastModifiedBy>Khuong Vo</cp:lastModifiedBy>
  <cp:revision>27</cp:revision>
  <cp:lastPrinted>2014-08-01T13:56:45Z</cp:lastPrinted>
  <dcterms:created xsi:type="dcterms:W3CDTF">2018-04-03T14:13:57Z</dcterms:created>
  <dcterms:modified xsi:type="dcterms:W3CDTF">2019-04-08T12:4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1BD4CFAEED9745ACEDC0EEB80CCAD3</vt:lpwstr>
  </property>
</Properties>
</file>